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2.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6"/>
  </p:notesMasterIdLst>
  <p:sldIdLst>
    <p:sldId id="379" r:id="rId5"/>
    <p:sldId id="397" r:id="rId6"/>
    <p:sldId id="385" r:id="rId7"/>
    <p:sldId id="396" r:id="rId8"/>
    <p:sldId id="388" r:id="rId9"/>
    <p:sldId id="398" r:id="rId10"/>
    <p:sldId id="399" r:id="rId11"/>
    <p:sldId id="400" r:id="rId12"/>
    <p:sldId id="401" r:id="rId13"/>
    <p:sldId id="402" r:id="rId14"/>
    <p:sldId id="403" r:id="rId15"/>
  </p:sldIdLst>
  <p:sldSz cx="12192000" cy="6858000"/>
  <p:notesSz cx="6858000" cy="9144000"/>
  <p:custDataLst>
    <p:tags r:id="rId17"/>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36" userDrawn="1">
          <p15:clr>
            <a:srgbClr val="A4A3A4"/>
          </p15:clr>
        </p15:guide>
        <p15:guide id="2" pos="3636" userDrawn="1">
          <p15:clr>
            <a:srgbClr val="A4A3A4"/>
          </p15:clr>
        </p15:guide>
        <p15:guide id="3" orient="horz" pos="1344" userDrawn="1">
          <p15:clr>
            <a:srgbClr val="A4A3A4"/>
          </p15:clr>
        </p15:guide>
        <p15:guide id="4" pos="3749"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48D37"/>
    <a:srgbClr val="FF6600"/>
    <a:srgbClr val="A5C8B2"/>
    <a:srgbClr val="019F91"/>
    <a:srgbClr val="01AE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E93CB87-3001-429A-8C47-C73E48AA31CD}" v="80" dt="2024-04-15T12:39:19.827"/>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979" autoAdjust="0"/>
    <p:restoredTop sz="81407" autoAdjust="0"/>
  </p:normalViewPr>
  <p:slideViewPr>
    <p:cSldViewPr snapToGrid="0" showGuides="1">
      <p:cViewPr varScale="1">
        <p:scale>
          <a:sx n="70" d="100"/>
          <a:sy n="70" d="100"/>
        </p:scale>
        <p:origin x="1397" y="43"/>
      </p:cViewPr>
      <p:guideLst>
        <p:guide orient="horz" pos="3936"/>
        <p:guide pos="3636"/>
        <p:guide orient="horz" pos="1344"/>
        <p:guide pos="3749"/>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osma, Janneke" userId="fbc09de8-61da-4812-b08f-019a8e6904b9" providerId="ADAL" clId="{AE93CB87-3001-429A-8C47-C73E48AA31CD}"/>
    <pc:docChg chg="undo redo custSel addSld delSld modSld sldOrd">
      <pc:chgData name="Bosma, Janneke" userId="fbc09de8-61da-4812-b08f-019a8e6904b9" providerId="ADAL" clId="{AE93CB87-3001-429A-8C47-C73E48AA31CD}" dt="2024-04-15T12:57:54.855" v="1108" actId="47"/>
      <pc:docMkLst>
        <pc:docMk/>
      </pc:docMkLst>
      <pc:sldChg chg="addSp delSp modSp mod modNotesTx">
        <pc:chgData name="Bosma, Janneke" userId="fbc09de8-61da-4812-b08f-019a8e6904b9" providerId="ADAL" clId="{AE93CB87-3001-429A-8C47-C73E48AA31CD}" dt="2024-04-15T12:02:01.847" v="934"/>
        <pc:sldMkLst>
          <pc:docMk/>
          <pc:sldMk cId="1539123830" sldId="385"/>
        </pc:sldMkLst>
        <pc:spChg chg="mod">
          <ac:chgData name="Bosma, Janneke" userId="fbc09de8-61da-4812-b08f-019a8e6904b9" providerId="ADAL" clId="{AE93CB87-3001-429A-8C47-C73E48AA31CD}" dt="2024-04-15T11:30:18.729" v="11" actId="20577"/>
          <ac:spMkLst>
            <pc:docMk/>
            <pc:sldMk cId="1539123830" sldId="385"/>
            <ac:spMk id="2" creationId="{66EECF1F-3A3A-48A9-AF99-34EA2FE500E0}"/>
          </ac:spMkLst>
        </pc:spChg>
        <pc:spChg chg="del">
          <ac:chgData name="Bosma, Janneke" userId="fbc09de8-61da-4812-b08f-019a8e6904b9" providerId="ADAL" clId="{AE93CB87-3001-429A-8C47-C73E48AA31CD}" dt="2024-04-15T11:30:20.859" v="12" actId="478"/>
          <ac:spMkLst>
            <pc:docMk/>
            <pc:sldMk cId="1539123830" sldId="385"/>
            <ac:spMk id="3" creationId="{DA363DEE-C969-5405-9BB4-436FEF67A4FB}"/>
          </ac:spMkLst>
        </pc:spChg>
        <pc:spChg chg="add mod">
          <ac:chgData name="Bosma, Janneke" userId="fbc09de8-61da-4812-b08f-019a8e6904b9" providerId="ADAL" clId="{AE93CB87-3001-429A-8C47-C73E48AA31CD}" dt="2024-04-15T12:01:07.709" v="885" actId="20577"/>
          <ac:spMkLst>
            <pc:docMk/>
            <pc:sldMk cId="1539123830" sldId="385"/>
            <ac:spMk id="5" creationId="{40BEEE44-7F2B-BDF1-A14B-33D44B17EE26}"/>
          </ac:spMkLst>
        </pc:spChg>
        <pc:spChg chg="add mod">
          <ac:chgData name="Bosma, Janneke" userId="fbc09de8-61da-4812-b08f-019a8e6904b9" providerId="ADAL" clId="{AE93CB87-3001-429A-8C47-C73E48AA31CD}" dt="2024-04-15T11:31:08.499" v="25"/>
          <ac:spMkLst>
            <pc:docMk/>
            <pc:sldMk cId="1539123830" sldId="385"/>
            <ac:spMk id="6" creationId="{83D4BB63-68EA-C7CA-D494-BCA86230C4CC}"/>
          </ac:spMkLst>
        </pc:spChg>
        <pc:spChg chg="add del mod">
          <ac:chgData name="Bosma, Janneke" userId="fbc09de8-61da-4812-b08f-019a8e6904b9" providerId="ADAL" clId="{AE93CB87-3001-429A-8C47-C73E48AA31CD}" dt="2024-04-15T11:31:15.416" v="27"/>
          <ac:spMkLst>
            <pc:docMk/>
            <pc:sldMk cId="1539123830" sldId="385"/>
            <ac:spMk id="7" creationId="{597FA2AF-7EF7-A179-B286-A9A586D878A1}"/>
          </ac:spMkLst>
        </pc:spChg>
        <pc:picChg chg="add mod">
          <ac:chgData name="Bosma, Janneke" userId="fbc09de8-61da-4812-b08f-019a8e6904b9" providerId="ADAL" clId="{AE93CB87-3001-429A-8C47-C73E48AA31CD}" dt="2024-04-15T12:01:48.558" v="901" actId="1076"/>
          <ac:picMkLst>
            <pc:docMk/>
            <pc:sldMk cId="1539123830" sldId="385"/>
            <ac:picMk id="8" creationId="{C1A72766-9309-FA70-450B-BB4270732E6B}"/>
          </ac:picMkLst>
        </pc:picChg>
        <pc:picChg chg="add del mod">
          <ac:chgData name="Bosma, Janneke" userId="fbc09de8-61da-4812-b08f-019a8e6904b9" providerId="ADAL" clId="{AE93CB87-3001-429A-8C47-C73E48AA31CD}" dt="2024-04-15T12:01:05.373" v="884" actId="21"/>
          <ac:picMkLst>
            <pc:docMk/>
            <pc:sldMk cId="1539123830" sldId="385"/>
            <ac:picMk id="2050" creationId="{BE937C7F-751C-CE35-DD7A-0352B07DEB5E}"/>
          </ac:picMkLst>
        </pc:picChg>
      </pc:sldChg>
      <pc:sldChg chg="del">
        <pc:chgData name="Bosma, Janneke" userId="fbc09de8-61da-4812-b08f-019a8e6904b9" providerId="ADAL" clId="{AE93CB87-3001-429A-8C47-C73E48AA31CD}" dt="2024-04-15T11:53:51.203" v="655" actId="47"/>
        <pc:sldMkLst>
          <pc:docMk/>
          <pc:sldMk cId="3297848897" sldId="386"/>
        </pc:sldMkLst>
      </pc:sldChg>
      <pc:sldChg chg="del">
        <pc:chgData name="Bosma, Janneke" userId="fbc09de8-61da-4812-b08f-019a8e6904b9" providerId="ADAL" clId="{AE93CB87-3001-429A-8C47-C73E48AA31CD}" dt="2024-04-15T11:53:48.735" v="654" actId="47"/>
        <pc:sldMkLst>
          <pc:docMk/>
          <pc:sldMk cId="1171883787" sldId="387"/>
        </pc:sldMkLst>
      </pc:sldChg>
      <pc:sldChg chg="addSp delSp modSp mod ord">
        <pc:chgData name="Bosma, Janneke" userId="fbc09de8-61da-4812-b08f-019a8e6904b9" providerId="ADAL" clId="{AE93CB87-3001-429A-8C47-C73E48AA31CD}" dt="2024-04-15T12:02:56.860" v="942" actId="21"/>
        <pc:sldMkLst>
          <pc:docMk/>
          <pc:sldMk cId="748100936" sldId="388"/>
        </pc:sldMkLst>
        <pc:spChg chg="mod">
          <ac:chgData name="Bosma, Janneke" userId="fbc09de8-61da-4812-b08f-019a8e6904b9" providerId="ADAL" clId="{AE93CB87-3001-429A-8C47-C73E48AA31CD}" dt="2024-04-15T11:52:03.729" v="611" actId="20577"/>
          <ac:spMkLst>
            <pc:docMk/>
            <pc:sldMk cId="748100936" sldId="388"/>
            <ac:spMk id="2" creationId="{66EECF1F-3A3A-48A9-AF99-34EA2FE500E0}"/>
          </ac:spMkLst>
        </pc:spChg>
        <pc:spChg chg="add mod">
          <ac:chgData name="Bosma, Janneke" userId="fbc09de8-61da-4812-b08f-019a8e6904b9" providerId="ADAL" clId="{AE93CB87-3001-429A-8C47-C73E48AA31CD}" dt="2024-04-15T11:52:37.802" v="624"/>
          <ac:spMkLst>
            <pc:docMk/>
            <pc:sldMk cId="748100936" sldId="388"/>
            <ac:spMk id="3" creationId="{6D4D8CBC-C048-05BA-A92A-FF4531F28891}"/>
          </ac:spMkLst>
        </pc:spChg>
        <pc:spChg chg="mod">
          <ac:chgData name="Bosma, Janneke" userId="fbc09de8-61da-4812-b08f-019a8e6904b9" providerId="ADAL" clId="{AE93CB87-3001-429A-8C47-C73E48AA31CD}" dt="2024-04-15T12:02:53.679" v="940" actId="1076"/>
          <ac:spMkLst>
            <pc:docMk/>
            <pc:sldMk cId="748100936" sldId="388"/>
            <ac:spMk id="4" creationId="{0D450E02-4A61-8A4F-DFCB-076C0CA610BB}"/>
          </ac:spMkLst>
        </pc:spChg>
        <pc:picChg chg="add del">
          <ac:chgData name="Bosma, Janneke" userId="fbc09de8-61da-4812-b08f-019a8e6904b9" providerId="ADAL" clId="{AE93CB87-3001-429A-8C47-C73E48AA31CD}" dt="2024-04-15T12:02:56.860" v="942" actId="21"/>
          <ac:picMkLst>
            <pc:docMk/>
            <pc:sldMk cId="748100936" sldId="388"/>
            <ac:picMk id="6" creationId="{A3394731-334B-72EC-940B-A53F281E38A3}"/>
          </ac:picMkLst>
        </pc:picChg>
        <pc:picChg chg="add del mod">
          <ac:chgData name="Bosma, Janneke" userId="fbc09de8-61da-4812-b08f-019a8e6904b9" providerId="ADAL" clId="{AE93CB87-3001-429A-8C47-C73E48AA31CD}" dt="2024-04-15T12:00:16.217" v="880" actId="478"/>
          <ac:picMkLst>
            <pc:docMk/>
            <pc:sldMk cId="748100936" sldId="388"/>
            <ac:picMk id="1026" creationId="{211C5E7B-40EA-1034-20A5-24F8DB819E83}"/>
          </ac:picMkLst>
        </pc:picChg>
      </pc:sldChg>
      <pc:sldChg chg="del">
        <pc:chgData name="Bosma, Janneke" userId="fbc09de8-61da-4812-b08f-019a8e6904b9" providerId="ADAL" clId="{AE93CB87-3001-429A-8C47-C73E48AA31CD}" dt="2024-04-15T11:53:47.660" v="653" actId="47"/>
        <pc:sldMkLst>
          <pc:docMk/>
          <pc:sldMk cId="2894291067" sldId="389"/>
        </pc:sldMkLst>
      </pc:sldChg>
      <pc:sldChg chg="del">
        <pc:chgData name="Bosma, Janneke" userId="fbc09de8-61da-4812-b08f-019a8e6904b9" providerId="ADAL" clId="{AE93CB87-3001-429A-8C47-C73E48AA31CD}" dt="2024-04-15T11:53:47.240" v="652" actId="47"/>
        <pc:sldMkLst>
          <pc:docMk/>
          <pc:sldMk cId="722055171" sldId="390"/>
        </pc:sldMkLst>
      </pc:sldChg>
      <pc:sldChg chg="del">
        <pc:chgData name="Bosma, Janneke" userId="fbc09de8-61da-4812-b08f-019a8e6904b9" providerId="ADAL" clId="{AE93CB87-3001-429A-8C47-C73E48AA31CD}" dt="2024-04-15T11:53:46.481" v="651" actId="47"/>
        <pc:sldMkLst>
          <pc:docMk/>
          <pc:sldMk cId="547507598" sldId="391"/>
        </pc:sldMkLst>
      </pc:sldChg>
      <pc:sldChg chg="del">
        <pc:chgData name="Bosma, Janneke" userId="fbc09de8-61da-4812-b08f-019a8e6904b9" providerId="ADAL" clId="{AE93CB87-3001-429A-8C47-C73E48AA31CD}" dt="2024-04-15T11:53:45.320" v="649" actId="47"/>
        <pc:sldMkLst>
          <pc:docMk/>
          <pc:sldMk cId="3823207965" sldId="392"/>
        </pc:sldMkLst>
      </pc:sldChg>
      <pc:sldChg chg="del">
        <pc:chgData name="Bosma, Janneke" userId="fbc09de8-61da-4812-b08f-019a8e6904b9" providerId="ADAL" clId="{AE93CB87-3001-429A-8C47-C73E48AA31CD}" dt="2024-04-15T11:53:44.460" v="647" actId="47"/>
        <pc:sldMkLst>
          <pc:docMk/>
          <pc:sldMk cId="4258599563" sldId="393"/>
        </pc:sldMkLst>
      </pc:sldChg>
      <pc:sldChg chg="del">
        <pc:chgData name="Bosma, Janneke" userId="fbc09de8-61da-4812-b08f-019a8e6904b9" providerId="ADAL" clId="{AE93CB87-3001-429A-8C47-C73E48AA31CD}" dt="2024-04-15T11:53:45.003" v="648" actId="47"/>
        <pc:sldMkLst>
          <pc:docMk/>
          <pc:sldMk cId="420100076" sldId="394"/>
        </pc:sldMkLst>
      </pc:sldChg>
      <pc:sldChg chg="del">
        <pc:chgData name="Bosma, Janneke" userId="fbc09de8-61da-4812-b08f-019a8e6904b9" providerId="ADAL" clId="{AE93CB87-3001-429A-8C47-C73E48AA31CD}" dt="2024-04-15T11:53:45.849" v="650" actId="47"/>
        <pc:sldMkLst>
          <pc:docMk/>
          <pc:sldMk cId="2136080066" sldId="395"/>
        </pc:sldMkLst>
      </pc:sldChg>
      <pc:sldChg chg="addSp modSp add mod">
        <pc:chgData name="Bosma, Janneke" userId="fbc09de8-61da-4812-b08f-019a8e6904b9" providerId="ADAL" clId="{AE93CB87-3001-429A-8C47-C73E48AA31CD}" dt="2024-04-15T11:52:35.405" v="623" actId="1076"/>
        <pc:sldMkLst>
          <pc:docMk/>
          <pc:sldMk cId="3388314341" sldId="396"/>
        </pc:sldMkLst>
        <pc:spChg chg="add mod">
          <ac:chgData name="Bosma, Janneke" userId="fbc09de8-61da-4812-b08f-019a8e6904b9" providerId="ADAL" clId="{AE93CB87-3001-429A-8C47-C73E48AA31CD}" dt="2024-04-15T11:32:53.958" v="37" actId="1076"/>
          <ac:spMkLst>
            <pc:docMk/>
            <pc:sldMk cId="3388314341" sldId="396"/>
            <ac:spMk id="3" creationId="{52A13EDA-4355-7AA7-3CE6-7620702AC536}"/>
          </ac:spMkLst>
        </pc:spChg>
        <pc:spChg chg="mod">
          <ac:chgData name="Bosma, Janneke" userId="fbc09de8-61da-4812-b08f-019a8e6904b9" providerId="ADAL" clId="{AE93CB87-3001-429A-8C47-C73E48AA31CD}" dt="2024-04-15T11:32:51.024" v="36" actId="255"/>
          <ac:spMkLst>
            <pc:docMk/>
            <pc:sldMk cId="3388314341" sldId="396"/>
            <ac:spMk id="5" creationId="{40BEEE44-7F2B-BDF1-A14B-33D44B17EE26}"/>
          </ac:spMkLst>
        </pc:spChg>
        <pc:spChg chg="mod">
          <ac:chgData name="Bosma, Janneke" userId="fbc09de8-61da-4812-b08f-019a8e6904b9" providerId="ADAL" clId="{AE93CB87-3001-429A-8C47-C73E48AA31CD}" dt="2024-04-15T11:52:35.405" v="623" actId="1076"/>
          <ac:spMkLst>
            <pc:docMk/>
            <pc:sldMk cId="3388314341" sldId="396"/>
            <ac:spMk id="6" creationId="{83D4BB63-68EA-C7CA-D494-BCA86230C4CC}"/>
          </ac:spMkLst>
        </pc:spChg>
      </pc:sldChg>
      <pc:sldChg chg="addSp delSp modSp add mod ord">
        <pc:chgData name="Bosma, Janneke" userId="fbc09de8-61da-4812-b08f-019a8e6904b9" providerId="ADAL" clId="{AE93CB87-3001-429A-8C47-C73E48AA31CD}" dt="2024-04-15T12:44:58.841" v="1107" actId="20577"/>
        <pc:sldMkLst>
          <pc:docMk/>
          <pc:sldMk cId="3516489296" sldId="397"/>
        </pc:sldMkLst>
        <pc:spChg chg="mod">
          <ac:chgData name="Bosma, Janneke" userId="fbc09de8-61da-4812-b08f-019a8e6904b9" providerId="ADAL" clId="{AE93CB87-3001-429A-8C47-C73E48AA31CD}" dt="2024-04-15T11:34:01.972" v="69" actId="20577"/>
          <ac:spMkLst>
            <pc:docMk/>
            <pc:sldMk cId="3516489296" sldId="397"/>
            <ac:spMk id="2" creationId="{66EECF1F-3A3A-48A9-AF99-34EA2FE500E0}"/>
          </ac:spMkLst>
        </pc:spChg>
        <pc:spChg chg="add mod">
          <ac:chgData name="Bosma, Janneke" userId="fbc09de8-61da-4812-b08f-019a8e6904b9" providerId="ADAL" clId="{AE93CB87-3001-429A-8C47-C73E48AA31CD}" dt="2024-04-15T11:50:11.092" v="606" actId="1076"/>
          <ac:spMkLst>
            <pc:docMk/>
            <pc:sldMk cId="3516489296" sldId="397"/>
            <ac:spMk id="3" creationId="{2BF14DA1-661F-5CB7-5B19-2D2B8902750E}"/>
          </ac:spMkLst>
        </pc:spChg>
        <pc:spChg chg="del">
          <ac:chgData name="Bosma, Janneke" userId="fbc09de8-61da-4812-b08f-019a8e6904b9" providerId="ADAL" clId="{AE93CB87-3001-429A-8C47-C73E48AA31CD}" dt="2024-04-15T11:34:17.022" v="70" actId="478"/>
          <ac:spMkLst>
            <pc:docMk/>
            <pc:sldMk cId="3516489296" sldId="397"/>
            <ac:spMk id="4" creationId="{0D450E02-4A61-8A4F-DFCB-076C0CA610BB}"/>
          </ac:spMkLst>
        </pc:spChg>
        <pc:spChg chg="add mod">
          <ac:chgData name="Bosma, Janneke" userId="fbc09de8-61da-4812-b08f-019a8e6904b9" providerId="ADAL" clId="{AE93CB87-3001-429A-8C47-C73E48AA31CD}" dt="2024-04-15T11:50:11.092" v="606" actId="1076"/>
          <ac:spMkLst>
            <pc:docMk/>
            <pc:sldMk cId="3516489296" sldId="397"/>
            <ac:spMk id="5" creationId="{80E19590-DD7C-5DB7-A3E5-316B3101E4B2}"/>
          </ac:spMkLst>
        </pc:spChg>
        <pc:spChg chg="add mod">
          <ac:chgData name="Bosma, Janneke" userId="fbc09de8-61da-4812-b08f-019a8e6904b9" providerId="ADAL" clId="{AE93CB87-3001-429A-8C47-C73E48AA31CD}" dt="2024-04-15T11:50:11.092" v="606" actId="1076"/>
          <ac:spMkLst>
            <pc:docMk/>
            <pc:sldMk cId="3516489296" sldId="397"/>
            <ac:spMk id="6" creationId="{94369FF1-8375-6456-02DA-6E8A1F57478C}"/>
          </ac:spMkLst>
        </pc:spChg>
        <pc:spChg chg="add mod">
          <ac:chgData name="Bosma, Janneke" userId="fbc09de8-61da-4812-b08f-019a8e6904b9" providerId="ADAL" clId="{AE93CB87-3001-429A-8C47-C73E48AA31CD}" dt="2024-04-15T11:50:11.092" v="606" actId="1076"/>
          <ac:spMkLst>
            <pc:docMk/>
            <pc:sldMk cId="3516489296" sldId="397"/>
            <ac:spMk id="7" creationId="{089ED333-AC11-5346-BE9A-34436DAE0E0D}"/>
          </ac:spMkLst>
        </pc:spChg>
        <pc:spChg chg="add mod">
          <ac:chgData name="Bosma, Janneke" userId="fbc09de8-61da-4812-b08f-019a8e6904b9" providerId="ADAL" clId="{AE93CB87-3001-429A-8C47-C73E48AA31CD}" dt="2024-04-15T12:44:58.841" v="1107" actId="20577"/>
          <ac:spMkLst>
            <pc:docMk/>
            <pc:sldMk cId="3516489296" sldId="397"/>
            <ac:spMk id="8" creationId="{C45C5163-9771-9C22-6CA4-12476AD36086}"/>
          </ac:spMkLst>
        </pc:spChg>
        <pc:spChg chg="add mod">
          <ac:chgData name="Bosma, Janneke" userId="fbc09de8-61da-4812-b08f-019a8e6904b9" providerId="ADAL" clId="{AE93CB87-3001-429A-8C47-C73E48AA31CD}" dt="2024-04-15T11:50:11.092" v="606" actId="1076"/>
          <ac:spMkLst>
            <pc:docMk/>
            <pc:sldMk cId="3516489296" sldId="397"/>
            <ac:spMk id="9" creationId="{60C59D0C-7F34-5328-F8A3-2C3D5BD21F19}"/>
          </ac:spMkLst>
        </pc:spChg>
        <pc:spChg chg="add mod">
          <ac:chgData name="Bosma, Janneke" userId="fbc09de8-61da-4812-b08f-019a8e6904b9" providerId="ADAL" clId="{AE93CB87-3001-429A-8C47-C73E48AA31CD}" dt="2024-04-15T11:50:11.092" v="606" actId="1076"/>
          <ac:spMkLst>
            <pc:docMk/>
            <pc:sldMk cId="3516489296" sldId="397"/>
            <ac:spMk id="10" creationId="{B36FCB04-634F-6EE4-927B-CF1BA9893A16}"/>
          </ac:spMkLst>
        </pc:spChg>
        <pc:spChg chg="add del mod">
          <ac:chgData name="Bosma, Janneke" userId="fbc09de8-61da-4812-b08f-019a8e6904b9" providerId="ADAL" clId="{AE93CB87-3001-429A-8C47-C73E48AA31CD}" dt="2024-04-15T11:39:52.773" v="181" actId="478"/>
          <ac:spMkLst>
            <pc:docMk/>
            <pc:sldMk cId="3516489296" sldId="397"/>
            <ac:spMk id="11" creationId="{1D31738B-A921-420C-6763-D210CFD69054}"/>
          </ac:spMkLst>
        </pc:spChg>
        <pc:spChg chg="add mod">
          <ac:chgData name="Bosma, Janneke" userId="fbc09de8-61da-4812-b08f-019a8e6904b9" providerId="ADAL" clId="{AE93CB87-3001-429A-8C47-C73E48AA31CD}" dt="2024-04-15T11:50:11.092" v="606" actId="1076"/>
          <ac:spMkLst>
            <pc:docMk/>
            <pc:sldMk cId="3516489296" sldId="397"/>
            <ac:spMk id="12" creationId="{1E73C250-1527-603B-7D87-A98B46B924CC}"/>
          </ac:spMkLst>
        </pc:spChg>
        <pc:spChg chg="add mod">
          <ac:chgData name="Bosma, Janneke" userId="fbc09de8-61da-4812-b08f-019a8e6904b9" providerId="ADAL" clId="{AE93CB87-3001-429A-8C47-C73E48AA31CD}" dt="2024-04-15T11:50:11.092" v="606" actId="1076"/>
          <ac:spMkLst>
            <pc:docMk/>
            <pc:sldMk cId="3516489296" sldId="397"/>
            <ac:spMk id="13" creationId="{F8425492-1027-AF53-46FF-0C1AB39AE994}"/>
          </ac:spMkLst>
        </pc:spChg>
        <pc:spChg chg="add mod">
          <ac:chgData name="Bosma, Janneke" userId="fbc09de8-61da-4812-b08f-019a8e6904b9" providerId="ADAL" clId="{AE93CB87-3001-429A-8C47-C73E48AA31CD}" dt="2024-04-15T11:50:11.092" v="606" actId="1076"/>
          <ac:spMkLst>
            <pc:docMk/>
            <pc:sldMk cId="3516489296" sldId="397"/>
            <ac:spMk id="14" creationId="{9448B57C-F5A4-AEFA-122A-DFF09EB74573}"/>
          </ac:spMkLst>
        </pc:spChg>
        <pc:spChg chg="add mod">
          <ac:chgData name="Bosma, Janneke" userId="fbc09de8-61da-4812-b08f-019a8e6904b9" providerId="ADAL" clId="{AE93CB87-3001-429A-8C47-C73E48AA31CD}" dt="2024-04-15T12:44:54.114" v="1102" actId="20577"/>
          <ac:spMkLst>
            <pc:docMk/>
            <pc:sldMk cId="3516489296" sldId="397"/>
            <ac:spMk id="15" creationId="{E8CDE6DC-D889-9DE9-5FD3-20C9EA913B72}"/>
          </ac:spMkLst>
        </pc:spChg>
        <pc:spChg chg="add mod">
          <ac:chgData name="Bosma, Janneke" userId="fbc09de8-61da-4812-b08f-019a8e6904b9" providerId="ADAL" clId="{AE93CB87-3001-429A-8C47-C73E48AA31CD}" dt="2024-04-15T12:44:55.643" v="1105" actId="20577"/>
          <ac:spMkLst>
            <pc:docMk/>
            <pc:sldMk cId="3516489296" sldId="397"/>
            <ac:spMk id="16" creationId="{733BB036-B6B9-C5C5-1F5D-5465D704989E}"/>
          </ac:spMkLst>
        </pc:spChg>
        <pc:spChg chg="add mod">
          <ac:chgData name="Bosma, Janneke" userId="fbc09de8-61da-4812-b08f-019a8e6904b9" providerId="ADAL" clId="{AE93CB87-3001-429A-8C47-C73E48AA31CD}" dt="2024-04-15T11:50:11.092" v="606" actId="1076"/>
          <ac:spMkLst>
            <pc:docMk/>
            <pc:sldMk cId="3516489296" sldId="397"/>
            <ac:spMk id="17" creationId="{EA8662EF-1D91-FD69-1FD7-3879D2D9E2CA}"/>
          </ac:spMkLst>
        </pc:spChg>
        <pc:spChg chg="add mod">
          <ac:chgData name="Bosma, Janneke" userId="fbc09de8-61da-4812-b08f-019a8e6904b9" providerId="ADAL" clId="{AE93CB87-3001-429A-8C47-C73E48AA31CD}" dt="2024-04-15T11:50:11.092" v="606" actId="1076"/>
          <ac:spMkLst>
            <pc:docMk/>
            <pc:sldMk cId="3516489296" sldId="397"/>
            <ac:spMk id="18" creationId="{C6D6A254-D8E4-BDCA-3BF5-D5DD5053510D}"/>
          </ac:spMkLst>
        </pc:spChg>
        <pc:spChg chg="add mod">
          <ac:chgData name="Bosma, Janneke" userId="fbc09de8-61da-4812-b08f-019a8e6904b9" providerId="ADAL" clId="{AE93CB87-3001-429A-8C47-C73E48AA31CD}" dt="2024-04-15T11:50:11.092" v="606" actId="1076"/>
          <ac:spMkLst>
            <pc:docMk/>
            <pc:sldMk cId="3516489296" sldId="397"/>
            <ac:spMk id="19" creationId="{219E3B1D-A1BB-30DD-B6D3-18F4569C8614}"/>
          </ac:spMkLst>
        </pc:spChg>
        <pc:spChg chg="add mod">
          <ac:chgData name="Bosma, Janneke" userId="fbc09de8-61da-4812-b08f-019a8e6904b9" providerId="ADAL" clId="{AE93CB87-3001-429A-8C47-C73E48AA31CD}" dt="2024-04-15T11:50:11.092" v="606" actId="1076"/>
          <ac:spMkLst>
            <pc:docMk/>
            <pc:sldMk cId="3516489296" sldId="397"/>
            <ac:spMk id="20" creationId="{3EACE04E-BE91-150C-1AEF-3A404104BBB8}"/>
          </ac:spMkLst>
        </pc:spChg>
      </pc:sldChg>
      <pc:sldChg chg="addSp delSp modSp add mod">
        <pc:chgData name="Bosma, Janneke" userId="fbc09de8-61da-4812-b08f-019a8e6904b9" providerId="ADAL" clId="{AE93CB87-3001-429A-8C47-C73E48AA31CD}" dt="2024-04-15T12:03:09.045" v="946" actId="1076"/>
        <pc:sldMkLst>
          <pc:docMk/>
          <pc:sldMk cId="570974521" sldId="398"/>
        </pc:sldMkLst>
        <pc:spChg chg="mod">
          <ac:chgData name="Bosma, Janneke" userId="fbc09de8-61da-4812-b08f-019a8e6904b9" providerId="ADAL" clId="{AE93CB87-3001-429A-8C47-C73E48AA31CD}" dt="2024-04-15T11:53:22.490" v="646" actId="20577"/>
          <ac:spMkLst>
            <pc:docMk/>
            <pc:sldMk cId="570974521" sldId="398"/>
            <ac:spMk id="4" creationId="{0D450E02-4A61-8A4F-DFCB-076C0CA610BB}"/>
          </ac:spMkLst>
        </pc:spChg>
        <pc:spChg chg="add del">
          <ac:chgData name="Bosma, Janneke" userId="fbc09de8-61da-4812-b08f-019a8e6904b9" providerId="ADAL" clId="{AE93CB87-3001-429A-8C47-C73E48AA31CD}" dt="2024-04-15T12:02:23.718" v="936" actId="22"/>
          <ac:spMkLst>
            <pc:docMk/>
            <pc:sldMk cId="570974521" sldId="398"/>
            <ac:spMk id="6" creationId="{B8228DAC-A003-F76C-0B48-50124C54770A}"/>
          </ac:spMkLst>
        </pc:spChg>
        <pc:spChg chg="add del">
          <ac:chgData name="Bosma, Janneke" userId="fbc09de8-61da-4812-b08f-019a8e6904b9" providerId="ADAL" clId="{AE93CB87-3001-429A-8C47-C73E48AA31CD}" dt="2024-04-15T12:02:30.750" v="938" actId="22"/>
          <ac:spMkLst>
            <pc:docMk/>
            <pc:sldMk cId="570974521" sldId="398"/>
            <ac:spMk id="8" creationId="{D848AA83-131A-712A-414D-8A21A3128124}"/>
          </ac:spMkLst>
        </pc:spChg>
        <pc:picChg chg="add mod">
          <ac:chgData name="Bosma, Janneke" userId="fbc09de8-61da-4812-b08f-019a8e6904b9" providerId="ADAL" clId="{AE93CB87-3001-429A-8C47-C73E48AA31CD}" dt="2024-04-15T12:03:09.045" v="946" actId="1076"/>
          <ac:picMkLst>
            <pc:docMk/>
            <pc:sldMk cId="570974521" sldId="398"/>
            <ac:picMk id="9" creationId="{54390E85-FE64-2041-F494-597304B81989}"/>
          </ac:picMkLst>
        </pc:picChg>
      </pc:sldChg>
      <pc:sldChg chg="addSp delSp modSp add mod">
        <pc:chgData name="Bosma, Janneke" userId="fbc09de8-61da-4812-b08f-019a8e6904b9" providerId="ADAL" clId="{AE93CB87-3001-429A-8C47-C73E48AA31CD}" dt="2024-04-15T11:54:46.955" v="670"/>
        <pc:sldMkLst>
          <pc:docMk/>
          <pc:sldMk cId="2418587023" sldId="399"/>
        </pc:sldMkLst>
        <pc:spChg chg="mod">
          <ac:chgData name="Bosma, Janneke" userId="fbc09de8-61da-4812-b08f-019a8e6904b9" providerId="ADAL" clId="{AE93CB87-3001-429A-8C47-C73E48AA31CD}" dt="2024-04-15T11:54:08.099" v="665" actId="20577"/>
          <ac:spMkLst>
            <pc:docMk/>
            <pc:sldMk cId="2418587023" sldId="399"/>
            <ac:spMk id="2" creationId="{66EECF1F-3A3A-48A9-AF99-34EA2FE500E0}"/>
          </ac:spMkLst>
        </pc:spChg>
        <pc:spChg chg="mod">
          <ac:chgData name="Bosma, Janneke" userId="fbc09de8-61da-4812-b08f-019a8e6904b9" providerId="ADAL" clId="{AE93CB87-3001-429A-8C47-C73E48AA31CD}" dt="2024-04-15T11:54:41.600" v="668" actId="20577"/>
          <ac:spMkLst>
            <pc:docMk/>
            <pc:sldMk cId="2418587023" sldId="399"/>
            <ac:spMk id="4" creationId="{0D450E02-4A61-8A4F-DFCB-076C0CA610BB}"/>
          </ac:spMkLst>
        </pc:spChg>
        <pc:spChg chg="add del mod">
          <ac:chgData name="Bosma, Janneke" userId="fbc09de8-61da-4812-b08f-019a8e6904b9" providerId="ADAL" clId="{AE93CB87-3001-429A-8C47-C73E48AA31CD}" dt="2024-04-15T11:54:46.955" v="670"/>
          <ac:spMkLst>
            <pc:docMk/>
            <pc:sldMk cId="2418587023" sldId="399"/>
            <ac:spMk id="5" creationId="{CF6FAAF3-3BE7-3A0C-C1B0-E8454A4CB790}"/>
          </ac:spMkLst>
        </pc:spChg>
      </pc:sldChg>
      <pc:sldChg chg="addSp delSp modSp add mod">
        <pc:chgData name="Bosma, Janneke" userId="fbc09de8-61da-4812-b08f-019a8e6904b9" providerId="ADAL" clId="{AE93CB87-3001-429A-8C47-C73E48AA31CD}" dt="2024-04-15T12:03:55.296" v="958" actId="478"/>
        <pc:sldMkLst>
          <pc:docMk/>
          <pc:sldMk cId="2216068714" sldId="400"/>
        </pc:sldMkLst>
        <pc:spChg chg="mod">
          <ac:chgData name="Bosma, Janneke" userId="fbc09de8-61da-4812-b08f-019a8e6904b9" providerId="ADAL" clId="{AE93CB87-3001-429A-8C47-C73E48AA31CD}" dt="2024-04-15T11:58:34.007" v="860" actId="207"/>
          <ac:spMkLst>
            <pc:docMk/>
            <pc:sldMk cId="2216068714" sldId="400"/>
            <ac:spMk id="4" creationId="{0D450E02-4A61-8A4F-DFCB-076C0CA610BB}"/>
          </ac:spMkLst>
        </pc:spChg>
        <pc:picChg chg="add del mod">
          <ac:chgData name="Bosma, Janneke" userId="fbc09de8-61da-4812-b08f-019a8e6904b9" providerId="ADAL" clId="{AE93CB87-3001-429A-8C47-C73E48AA31CD}" dt="2024-04-15T12:03:55.296" v="958" actId="478"/>
          <ac:picMkLst>
            <pc:docMk/>
            <pc:sldMk cId="2216068714" sldId="400"/>
            <ac:picMk id="6" creationId="{C6FAF7E2-05C4-9E3C-5CA1-329D1966DD67}"/>
          </ac:picMkLst>
        </pc:picChg>
        <pc:picChg chg="add mod">
          <ac:chgData name="Bosma, Janneke" userId="fbc09de8-61da-4812-b08f-019a8e6904b9" providerId="ADAL" clId="{AE93CB87-3001-429A-8C47-C73E48AA31CD}" dt="2024-04-15T12:03:47.294" v="956" actId="1076"/>
          <ac:picMkLst>
            <pc:docMk/>
            <pc:sldMk cId="2216068714" sldId="400"/>
            <ac:picMk id="8" creationId="{B0E8AECE-ECFB-ADA0-E2E8-F46B6C2DC738}"/>
          </ac:picMkLst>
        </pc:picChg>
      </pc:sldChg>
      <pc:sldChg chg="addSp delSp modSp add mod">
        <pc:chgData name="Bosma, Janneke" userId="fbc09de8-61da-4812-b08f-019a8e6904b9" providerId="ADAL" clId="{AE93CB87-3001-429A-8C47-C73E48AA31CD}" dt="2024-04-15T12:05:36.129" v="984" actId="1076"/>
        <pc:sldMkLst>
          <pc:docMk/>
          <pc:sldMk cId="1133550296" sldId="401"/>
        </pc:sldMkLst>
        <pc:spChg chg="mod">
          <ac:chgData name="Bosma, Janneke" userId="fbc09de8-61da-4812-b08f-019a8e6904b9" providerId="ADAL" clId="{AE93CB87-3001-429A-8C47-C73E48AA31CD}" dt="2024-04-15T12:04:10.646" v="972" actId="20577"/>
          <ac:spMkLst>
            <pc:docMk/>
            <pc:sldMk cId="1133550296" sldId="401"/>
            <ac:spMk id="2" creationId="{66EECF1F-3A3A-48A9-AF99-34EA2FE500E0}"/>
          </ac:spMkLst>
        </pc:spChg>
        <pc:spChg chg="mod">
          <ac:chgData name="Bosma, Janneke" userId="fbc09de8-61da-4812-b08f-019a8e6904b9" providerId="ADAL" clId="{AE93CB87-3001-429A-8C47-C73E48AA31CD}" dt="2024-04-15T12:05:36.129" v="984" actId="1076"/>
          <ac:spMkLst>
            <pc:docMk/>
            <pc:sldMk cId="1133550296" sldId="401"/>
            <ac:spMk id="4" creationId="{0D450E02-4A61-8A4F-DFCB-076C0CA610BB}"/>
          </ac:spMkLst>
        </pc:spChg>
        <pc:spChg chg="add del mod">
          <ac:chgData name="Bosma, Janneke" userId="fbc09de8-61da-4812-b08f-019a8e6904b9" providerId="ADAL" clId="{AE93CB87-3001-429A-8C47-C73E48AA31CD}" dt="2024-04-15T12:04:19.629" v="975"/>
          <ac:spMkLst>
            <pc:docMk/>
            <pc:sldMk cId="1133550296" sldId="401"/>
            <ac:spMk id="5" creationId="{CFF24B2D-384C-14F7-C141-FA1A49A60861}"/>
          </ac:spMkLst>
        </pc:spChg>
        <pc:picChg chg="del">
          <ac:chgData name="Bosma, Janneke" userId="fbc09de8-61da-4812-b08f-019a8e6904b9" providerId="ADAL" clId="{AE93CB87-3001-429A-8C47-C73E48AA31CD}" dt="2024-04-15T12:04:22.796" v="977" actId="478"/>
          <ac:picMkLst>
            <pc:docMk/>
            <pc:sldMk cId="1133550296" sldId="401"/>
            <ac:picMk id="6" creationId="{C6FAF7E2-05C4-9E3C-5CA1-329D1966DD67}"/>
          </ac:picMkLst>
        </pc:picChg>
        <pc:picChg chg="del">
          <ac:chgData name="Bosma, Janneke" userId="fbc09de8-61da-4812-b08f-019a8e6904b9" providerId="ADAL" clId="{AE93CB87-3001-429A-8C47-C73E48AA31CD}" dt="2024-04-15T12:04:12.866" v="973" actId="478"/>
          <ac:picMkLst>
            <pc:docMk/>
            <pc:sldMk cId="1133550296" sldId="401"/>
            <ac:picMk id="8" creationId="{B0E8AECE-ECFB-ADA0-E2E8-F46B6C2DC738}"/>
          </ac:picMkLst>
        </pc:picChg>
      </pc:sldChg>
      <pc:sldChg chg="addSp delSp modSp add mod">
        <pc:chgData name="Bosma, Janneke" userId="fbc09de8-61da-4812-b08f-019a8e6904b9" providerId="ADAL" clId="{AE93CB87-3001-429A-8C47-C73E48AA31CD}" dt="2024-04-15T12:08:00.882" v="1011" actId="1076"/>
        <pc:sldMkLst>
          <pc:docMk/>
          <pc:sldMk cId="65303109" sldId="402"/>
        </pc:sldMkLst>
        <pc:spChg chg="mod">
          <ac:chgData name="Bosma, Janneke" userId="fbc09de8-61da-4812-b08f-019a8e6904b9" providerId="ADAL" clId="{AE93CB87-3001-429A-8C47-C73E48AA31CD}" dt="2024-04-15T12:07:45.883" v="1009" actId="20577"/>
          <ac:spMkLst>
            <pc:docMk/>
            <pc:sldMk cId="65303109" sldId="402"/>
            <ac:spMk id="4" creationId="{0D450E02-4A61-8A4F-DFCB-076C0CA610BB}"/>
          </ac:spMkLst>
        </pc:spChg>
        <pc:spChg chg="add del">
          <ac:chgData name="Bosma, Janneke" userId="fbc09de8-61da-4812-b08f-019a8e6904b9" providerId="ADAL" clId="{AE93CB87-3001-429A-8C47-C73E48AA31CD}" dt="2024-04-15T12:06:41.342" v="993"/>
          <ac:spMkLst>
            <pc:docMk/>
            <pc:sldMk cId="65303109" sldId="402"/>
            <ac:spMk id="5" creationId="{9BBB5809-3E04-084F-46C7-6F2619C12908}"/>
          </ac:spMkLst>
        </pc:spChg>
        <pc:spChg chg="add del">
          <ac:chgData name="Bosma, Janneke" userId="fbc09de8-61da-4812-b08f-019a8e6904b9" providerId="ADAL" clId="{AE93CB87-3001-429A-8C47-C73E48AA31CD}" dt="2024-04-15T12:06:46.463" v="998"/>
          <ac:spMkLst>
            <pc:docMk/>
            <pc:sldMk cId="65303109" sldId="402"/>
            <ac:spMk id="7" creationId="{F9AAC6F2-DC38-F155-4B2D-423DC71DCE5C}"/>
          </ac:spMkLst>
        </pc:spChg>
        <pc:spChg chg="add del">
          <ac:chgData name="Bosma, Janneke" userId="fbc09de8-61da-4812-b08f-019a8e6904b9" providerId="ADAL" clId="{AE93CB87-3001-429A-8C47-C73E48AA31CD}" dt="2024-04-15T12:06:56.893" v="1000"/>
          <ac:spMkLst>
            <pc:docMk/>
            <pc:sldMk cId="65303109" sldId="402"/>
            <ac:spMk id="8" creationId="{BA7D6307-2750-DA7B-7A28-88030798E944}"/>
          </ac:spMkLst>
        </pc:spChg>
        <pc:spChg chg="add del">
          <ac:chgData name="Bosma, Janneke" userId="fbc09de8-61da-4812-b08f-019a8e6904b9" providerId="ADAL" clId="{AE93CB87-3001-429A-8C47-C73E48AA31CD}" dt="2024-04-15T12:07:05.045" v="1002"/>
          <ac:spMkLst>
            <pc:docMk/>
            <pc:sldMk cId="65303109" sldId="402"/>
            <ac:spMk id="9" creationId="{C6B1C2C6-C9E2-259A-F435-16DBCE9D6CC1}"/>
          </ac:spMkLst>
        </pc:spChg>
        <pc:picChg chg="mod">
          <ac:chgData name="Bosma, Janneke" userId="fbc09de8-61da-4812-b08f-019a8e6904b9" providerId="ADAL" clId="{AE93CB87-3001-429A-8C47-C73E48AA31CD}" dt="2024-04-15T12:08:00.882" v="1011" actId="1076"/>
          <ac:picMkLst>
            <pc:docMk/>
            <pc:sldMk cId="65303109" sldId="402"/>
            <ac:picMk id="6" creationId="{C6FAF7E2-05C4-9E3C-5CA1-329D1966DD67}"/>
          </ac:picMkLst>
        </pc:picChg>
      </pc:sldChg>
      <pc:sldChg chg="addSp delSp modSp add mod">
        <pc:chgData name="Bosma, Janneke" userId="fbc09de8-61da-4812-b08f-019a8e6904b9" providerId="ADAL" clId="{AE93CB87-3001-429A-8C47-C73E48AA31CD}" dt="2024-04-15T12:39:18.176" v="1030" actId="22"/>
        <pc:sldMkLst>
          <pc:docMk/>
          <pc:sldMk cId="2409312930" sldId="403"/>
        </pc:sldMkLst>
        <pc:spChg chg="mod">
          <ac:chgData name="Bosma, Janneke" userId="fbc09de8-61da-4812-b08f-019a8e6904b9" providerId="ADAL" clId="{AE93CB87-3001-429A-8C47-C73E48AA31CD}" dt="2024-04-15T12:38:02.889" v="1025" actId="20577"/>
          <ac:spMkLst>
            <pc:docMk/>
            <pc:sldMk cId="2409312930" sldId="403"/>
            <ac:spMk id="2" creationId="{66EECF1F-3A3A-48A9-AF99-34EA2FE500E0}"/>
          </ac:spMkLst>
        </pc:spChg>
        <pc:spChg chg="mod">
          <ac:chgData name="Bosma, Janneke" userId="fbc09de8-61da-4812-b08f-019a8e6904b9" providerId="ADAL" clId="{AE93CB87-3001-429A-8C47-C73E48AA31CD}" dt="2024-04-15T12:39:13.479" v="1027" actId="255"/>
          <ac:spMkLst>
            <pc:docMk/>
            <pc:sldMk cId="2409312930" sldId="403"/>
            <ac:spMk id="4" creationId="{0D450E02-4A61-8A4F-DFCB-076C0CA610BB}"/>
          </ac:spMkLst>
        </pc:spChg>
        <pc:spChg chg="add del">
          <ac:chgData name="Bosma, Janneke" userId="fbc09de8-61da-4812-b08f-019a8e6904b9" providerId="ADAL" clId="{AE93CB87-3001-429A-8C47-C73E48AA31CD}" dt="2024-04-15T12:39:18.176" v="1030" actId="22"/>
          <ac:spMkLst>
            <pc:docMk/>
            <pc:sldMk cId="2409312930" sldId="403"/>
            <ac:spMk id="7" creationId="{1AD9D65B-BD3B-FD2A-04D7-97B2FEEEC7B5}"/>
          </ac:spMkLst>
        </pc:spChg>
        <pc:picChg chg="del">
          <ac:chgData name="Bosma, Janneke" userId="fbc09de8-61da-4812-b08f-019a8e6904b9" providerId="ADAL" clId="{AE93CB87-3001-429A-8C47-C73E48AA31CD}" dt="2024-04-15T12:39:15.210" v="1028" actId="478"/>
          <ac:picMkLst>
            <pc:docMk/>
            <pc:sldMk cId="2409312930" sldId="403"/>
            <ac:picMk id="6" creationId="{C6FAF7E2-05C4-9E3C-5CA1-329D1966DD67}"/>
          </ac:picMkLst>
        </pc:picChg>
      </pc:sldChg>
      <pc:sldChg chg="add del">
        <pc:chgData name="Bosma, Janneke" userId="fbc09de8-61da-4812-b08f-019a8e6904b9" providerId="ADAL" clId="{AE93CB87-3001-429A-8C47-C73E48AA31CD}" dt="2024-04-15T12:57:54.855" v="1108" actId="47"/>
        <pc:sldMkLst>
          <pc:docMk/>
          <pc:sldMk cId="97155566" sldId="404"/>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B684A2C-AF06-43EB-B93A-E4E444740058}" type="datetimeFigureOut">
              <a:rPr lang="nl-NL" smtClean="0"/>
              <a:t>15-4-2024</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9DD330-543A-4594-B84E-BE963B41153A}" type="slidenum">
              <a:rPr lang="nl-NL" smtClean="0"/>
              <a:t>‹nr.›</a:t>
            </a:fld>
            <a:endParaRPr lang="nl-NL"/>
          </a:p>
        </p:txBody>
      </p:sp>
    </p:spTree>
    <p:extLst>
      <p:ext uri="{BB962C8B-B14F-4D97-AF65-F5344CB8AC3E}">
        <p14:creationId xmlns:p14="http://schemas.microsoft.com/office/powerpoint/2010/main" val="28685144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vectorstock.com/royalty-free-vector/a-set-of-cats-collection-cartoon-kittens-vector-18485981"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a:t>
            </a:fld>
            <a:endParaRPr lang="nl-NL"/>
          </a:p>
        </p:txBody>
      </p:sp>
    </p:spTree>
    <p:extLst>
      <p:ext uri="{BB962C8B-B14F-4D97-AF65-F5344CB8AC3E}">
        <p14:creationId xmlns:p14="http://schemas.microsoft.com/office/powerpoint/2010/main" val="4962673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Bron figuren van katten: </a:t>
            </a:r>
            <a:r>
              <a:rPr lang="en-US" dirty="0">
                <a:hlinkClick r:id="rId3"/>
              </a:rPr>
              <a:t>A set of cats collection cartoon kittens Vector Image (vectorstock.com)</a:t>
            </a:r>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3</a:t>
            </a:fld>
            <a:endParaRPr lang="nl-NL"/>
          </a:p>
        </p:txBody>
      </p:sp>
    </p:spTree>
    <p:extLst>
      <p:ext uri="{BB962C8B-B14F-4D97-AF65-F5344CB8AC3E}">
        <p14:creationId xmlns:p14="http://schemas.microsoft.com/office/powerpoint/2010/main" val="12829269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6</a:t>
            </a:fld>
            <a:endParaRPr lang="nl-NL"/>
          </a:p>
        </p:txBody>
      </p:sp>
    </p:spTree>
    <p:extLst>
      <p:ext uri="{BB962C8B-B14F-4D97-AF65-F5344CB8AC3E}">
        <p14:creationId xmlns:p14="http://schemas.microsoft.com/office/powerpoint/2010/main" val="6829907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8</a:t>
            </a:fld>
            <a:endParaRPr lang="nl-NL"/>
          </a:p>
        </p:txBody>
      </p:sp>
    </p:spTree>
    <p:extLst>
      <p:ext uri="{BB962C8B-B14F-4D97-AF65-F5344CB8AC3E}">
        <p14:creationId xmlns:p14="http://schemas.microsoft.com/office/powerpoint/2010/main" val="14448160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9</a:t>
            </a:fld>
            <a:endParaRPr lang="nl-NL"/>
          </a:p>
        </p:txBody>
      </p:sp>
    </p:spTree>
    <p:extLst>
      <p:ext uri="{BB962C8B-B14F-4D97-AF65-F5344CB8AC3E}">
        <p14:creationId xmlns:p14="http://schemas.microsoft.com/office/powerpoint/2010/main" val="40129565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0</a:t>
            </a:fld>
            <a:endParaRPr lang="nl-NL"/>
          </a:p>
        </p:txBody>
      </p:sp>
    </p:spTree>
    <p:extLst>
      <p:ext uri="{BB962C8B-B14F-4D97-AF65-F5344CB8AC3E}">
        <p14:creationId xmlns:p14="http://schemas.microsoft.com/office/powerpoint/2010/main" val="17026507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1</a:t>
            </a:fld>
            <a:endParaRPr lang="nl-NL"/>
          </a:p>
        </p:txBody>
      </p:sp>
    </p:spTree>
    <p:extLst>
      <p:ext uri="{BB962C8B-B14F-4D97-AF65-F5344CB8AC3E}">
        <p14:creationId xmlns:p14="http://schemas.microsoft.com/office/powerpoint/2010/main" val="114392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whi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5CF6DA-E7D7-4E18-9862-DBC8881EE8B0}"/>
              </a:ext>
            </a:extLst>
          </p:cNvPr>
          <p:cNvGraphicFramePr>
            <a:graphicFrameLocks noChangeAspect="1"/>
          </p:cNvGraphicFramePr>
          <p:nvPr userDrawn="1">
            <p:custDataLst>
              <p:tags r:id="rId1"/>
            </p:custDataLst>
            <p:extLst>
              <p:ext uri="{D42A27DB-BD31-4B8C-83A1-F6EECF244321}">
                <p14:modId xmlns:p14="http://schemas.microsoft.com/office/powerpoint/2010/main" val="459398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5CF6DA-E7D7-4E18-9862-DBC8881EE8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5" name="Tijdelijke aanduiding voor afbeelding 44">
            <a:extLst>
              <a:ext uri="{FF2B5EF4-FFF2-40B4-BE49-F238E27FC236}">
                <a16:creationId xmlns:a16="http://schemas.microsoft.com/office/drawing/2014/main" id="{EE874A20-F490-4D8C-B40B-B279CEF7CFE0}"/>
              </a:ext>
            </a:extLst>
          </p:cNvPr>
          <p:cNvSpPr>
            <a:spLocks noGrp="1"/>
          </p:cNvSpPr>
          <p:nvPr>
            <p:ph type="pic" sz="quarter" idx="10" hasCustomPrompt="1"/>
          </p:nvPr>
        </p:nvSpPr>
        <p:spPr>
          <a:xfrm>
            <a:off x="0" y="0"/>
            <a:ext cx="12192000" cy="6858000"/>
          </a:xfrm>
          <a:custGeom>
            <a:avLst/>
            <a:gdLst>
              <a:gd name="connsiteX0" fmla="*/ 11234738 w 12192000"/>
              <a:gd name="connsiteY0" fmla="*/ 660400 h 6858000"/>
              <a:gd name="connsiteX1" fmla="*/ 11234738 w 12192000"/>
              <a:gd name="connsiteY1" fmla="*/ 702054 h 6858000"/>
              <a:gd name="connsiteX2" fmla="*/ 11217593 w 12192000"/>
              <a:gd name="connsiteY2" fmla="*/ 706438 h 6858000"/>
              <a:gd name="connsiteX3" fmla="*/ 11191875 w 12192000"/>
              <a:gd name="connsiteY3" fmla="*/ 684515 h 6858000"/>
              <a:gd name="connsiteX4" fmla="*/ 11234738 w 12192000"/>
              <a:gd name="connsiteY4" fmla="*/ 660400 h 6858000"/>
              <a:gd name="connsiteX5" fmla="*/ 11038328 w 12192000"/>
              <a:gd name="connsiteY5" fmla="*/ 609687 h 6858000"/>
              <a:gd name="connsiteX6" fmla="*/ 11069638 w 12192000"/>
              <a:gd name="connsiteY6" fmla="*/ 658327 h 6858000"/>
              <a:gd name="connsiteX7" fmla="*/ 11028164 w 12192000"/>
              <a:gd name="connsiteY7" fmla="*/ 706794 h 6858000"/>
              <a:gd name="connsiteX8" fmla="*/ 11017250 w 12192000"/>
              <a:gd name="connsiteY8" fmla="*/ 704591 h 6858000"/>
              <a:gd name="connsiteX9" fmla="*/ 11017250 w 12192000"/>
              <a:gd name="connsiteY9" fmla="*/ 612062 h 6858000"/>
              <a:gd name="connsiteX10" fmla="*/ 11032530 w 12192000"/>
              <a:gd name="connsiteY10" fmla="*/ 609859 h 6858000"/>
              <a:gd name="connsiteX11" fmla="*/ 11038328 w 12192000"/>
              <a:gd name="connsiteY11" fmla="*/ 609687 h 6858000"/>
              <a:gd name="connsiteX12" fmla="*/ 11226205 w 12192000"/>
              <a:gd name="connsiteY12" fmla="*/ 574675 h 6858000"/>
              <a:gd name="connsiteX13" fmla="*/ 11158538 w 12192000"/>
              <a:gd name="connsiteY13" fmla="*/ 585723 h 6858000"/>
              <a:gd name="connsiteX14" fmla="*/ 11158538 w 12192000"/>
              <a:gd name="connsiteY14" fmla="*/ 610029 h 6858000"/>
              <a:gd name="connsiteX15" fmla="*/ 11204377 w 12192000"/>
              <a:gd name="connsiteY15" fmla="*/ 605610 h 6858000"/>
              <a:gd name="connsiteX16" fmla="*/ 11234936 w 12192000"/>
              <a:gd name="connsiteY16" fmla="*/ 621077 h 6858000"/>
              <a:gd name="connsiteX17" fmla="*/ 11234936 w 12192000"/>
              <a:gd name="connsiteY17" fmla="*/ 638755 h 6858000"/>
              <a:gd name="connsiteX18" fmla="*/ 11145441 w 12192000"/>
              <a:gd name="connsiteY18" fmla="*/ 689576 h 6858000"/>
              <a:gd name="connsiteX19" fmla="*/ 11193462 w 12192000"/>
              <a:gd name="connsiteY19" fmla="*/ 738188 h 6858000"/>
              <a:gd name="connsiteX20" fmla="*/ 11237119 w 12192000"/>
              <a:gd name="connsiteY20" fmla="*/ 724930 h 6858000"/>
              <a:gd name="connsiteX21" fmla="*/ 11237119 w 12192000"/>
              <a:gd name="connsiteY21" fmla="*/ 735978 h 6858000"/>
              <a:gd name="connsiteX22" fmla="*/ 11280775 w 12192000"/>
              <a:gd name="connsiteY22" fmla="*/ 735978 h 6858000"/>
              <a:gd name="connsiteX23" fmla="*/ 11280775 w 12192000"/>
              <a:gd name="connsiteY23" fmla="*/ 629916 h 6858000"/>
              <a:gd name="connsiteX24" fmla="*/ 11226205 w 12192000"/>
              <a:gd name="connsiteY24" fmla="*/ 574675 h 6858000"/>
              <a:gd name="connsiteX25" fmla="*/ 11418873 w 12192000"/>
              <a:gd name="connsiteY25" fmla="*/ 573088 h 6858000"/>
              <a:gd name="connsiteX26" fmla="*/ 11368874 w 12192000"/>
              <a:gd name="connsiteY26" fmla="*/ 586185 h 6858000"/>
              <a:gd name="connsiteX27" fmla="*/ 11368874 w 12192000"/>
              <a:gd name="connsiteY27" fmla="*/ 575271 h 6858000"/>
              <a:gd name="connsiteX28" fmla="*/ 11318875 w 12192000"/>
              <a:gd name="connsiteY28" fmla="*/ 575271 h 6858000"/>
              <a:gd name="connsiteX29" fmla="*/ 11318875 w 12192000"/>
              <a:gd name="connsiteY29" fmla="*/ 730250 h 6858000"/>
              <a:gd name="connsiteX30" fmla="*/ 11368874 w 12192000"/>
              <a:gd name="connsiteY30" fmla="*/ 730250 h 6858000"/>
              <a:gd name="connsiteX31" fmla="*/ 11368874 w 12192000"/>
              <a:gd name="connsiteY31" fmla="*/ 610196 h 6858000"/>
              <a:gd name="connsiteX32" fmla="*/ 11390613 w 12192000"/>
              <a:gd name="connsiteY32" fmla="*/ 608013 h 6858000"/>
              <a:gd name="connsiteX33" fmla="*/ 11414525 w 12192000"/>
              <a:gd name="connsiteY33" fmla="*/ 623293 h 6858000"/>
              <a:gd name="connsiteX34" fmla="*/ 11414525 w 12192000"/>
              <a:gd name="connsiteY34" fmla="*/ 730250 h 6858000"/>
              <a:gd name="connsiteX35" fmla="*/ 11464525 w 12192000"/>
              <a:gd name="connsiteY35" fmla="*/ 730250 h 6858000"/>
              <a:gd name="connsiteX36" fmla="*/ 11464525 w 12192000"/>
              <a:gd name="connsiteY36" fmla="*/ 621110 h 6858000"/>
              <a:gd name="connsiteX37" fmla="*/ 11462351 w 12192000"/>
              <a:gd name="connsiteY37" fmla="*/ 610196 h 6858000"/>
              <a:gd name="connsiteX38" fmla="*/ 11486263 w 12192000"/>
              <a:gd name="connsiteY38" fmla="*/ 608013 h 6858000"/>
              <a:gd name="connsiteX39" fmla="*/ 11510176 w 12192000"/>
              <a:gd name="connsiteY39" fmla="*/ 623293 h 6858000"/>
              <a:gd name="connsiteX40" fmla="*/ 11510176 w 12192000"/>
              <a:gd name="connsiteY40" fmla="*/ 730250 h 6858000"/>
              <a:gd name="connsiteX41" fmla="*/ 11560175 w 12192000"/>
              <a:gd name="connsiteY41" fmla="*/ 730250 h 6858000"/>
              <a:gd name="connsiteX42" fmla="*/ 11560175 w 12192000"/>
              <a:gd name="connsiteY42" fmla="*/ 621110 h 6858000"/>
              <a:gd name="connsiteX43" fmla="*/ 11514524 w 12192000"/>
              <a:gd name="connsiteY43" fmla="*/ 573088 h 6858000"/>
              <a:gd name="connsiteX44" fmla="*/ 11451481 w 12192000"/>
              <a:gd name="connsiteY44" fmla="*/ 586185 h 6858000"/>
              <a:gd name="connsiteX45" fmla="*/ 11418873 w 12192000"/>
              <a:gd name="connsiteY45" fmla="*/ 573088 h 6858000"/>
              <a:gd name="connsiteX46" fmla="*/ 10966450 w 12192000"/>
              <a:gd name="connsiteY46" fmla="*/ 500063 h 6858000"/>
              <a:gd name="connsiteX47" fmla="*/ 10966450 w 12192000"/>
              <a:gd name="connsiteY47" fmla="*/ 727164 h 6858000"/>
              <a:gd name="connsiteX48" fmla="*/ 11030245 w 12192000"/>
              <a:gd name="connsiteY48" fmla="*/ 738188 h 6858000"/>
              <a:gd name="connsiteX49" fmla="*/ 11120438 w 12192000"/>
              <a:gd name="connsiteY49" fmla="*/ 649994 h 6858000"/>
              <a:gd name="connsiteX50" fmla="*/ 11058843 w 12192000"/>
              <a:gd name="connsiteY50" fmla="*/ 575028 h 6858000"/>
              <a:gd name="connsiteX51" fmla="*/ 11017046 w 12192000"/>
              <a:gd name="connsiteY51" fmla="*/ 588258 h 6858000"/>
              <a:gd name="connsiteX52" fmla="*/ 11017046 w 12192000"/>
              <a:gd name="connsiteY52" fmla="*/ 500063 h 6858000"/>
              <a:gd name="connsiteX53" fmla="*/ 10966450 w 12192000"/>
              <a:gd name="connsiteY53" fmla="*/ 500063 h 6858000"/>
              <a:gd name="connsiteX54" fmla="*/ 10783888 w 12192000"/>
              <a:gd name="connsiteY54" fmla="*/ 496888 h 6858000"/>
              <a:gd name="connsiteX55" fmla="*/ 10742612 w 12192000"/>
              <a:gd name="connsiteY55" fmla="*/ 515938 h 6858000"/>
              <a:gd name="connsiteX56" fmla="*/ 10820400 w 12192000"/>
              <a:gd name="connsiteY56" fmla="*/ 530226 h 6858000"/>
              <a:gd name="connsiteX57" fmla="*/ 10799762 w 12192000"/>
              <a:gd name="connsiteY57" fmla="*/ 603250 h 6858000"/>
              <a:gd name="connsiteX58" fmla="*/ 10779125 w 12192000"/>
              <a:gd name="connsiteY58" fmla="*/ 596900 h 6858000"/>
              <a:gd name="connsiteX59" fmla="*/ 10790238 w 12192000"/>
              <a:gd name="connsiteY59" fmla="*/ 549276 h 6858000"/>
              <a:gd name="connsiteX60" fmla="*/ 10707688 w 12192000"/>
              <a:gd name="connsiteY60" fmla="*/ 531813 h 6858000"/>
              <a:gd name="connsiteX61" fmla="*/ 10655300 w 12192000"/>
              <a:gd name="connsiteY61" fmla="*/ 555625 h 6858000"/>
              <a:gd name="connsiteX62" fmla="*/ 10742612 w 12192000"/>
              <a:gd name="connsiteY62" fmla="*/ 579438 h 6858000"/>
              <a:gd name="connsiteX63" fmla="*/ 10726738 w 12192000"/>
              <a:gd name="connsiteY63" fmla="*/ 669925 h 6858000"/>
              <a:gd name="connsiteX64" fmla="*/ 10699750 w 12192000"/>
              <a:gd name="connsiteY64" fmla="*/ 655638 h 6858000"/>
              <a:gd name="connsiteX65" fmla="*/ 10702925 w 12192000"/>
              <a:gd name="connsiteY65" fmla="*/ 603250 h 6858000"/>
              <a:gd name="connsiteX66" fmla="*/ 10614025 w 12192000"/>
              <a:gd name="connsiteY66" fmla="*/ 573088 h 6858000"/>
              <a:gd name="connsiteX67" fmla="*/ 10525125 w 12192000"/>
              <a:gd name="connsiteY67" fmla="*/ 612775 h 6858000"/>
              <a:gd name="connsiteX68" fmla="*/ 10617200 w 12192000"/>
              <a:gd name="connsiteY68" fmla="*/ 658813 h 6858000"/>
              <a:gd name="connsiteX69" fmla="*/ 10623550 w 12192000"/>
              <a:gd name="connsiteY69" fmla="*/ 760413 h 6858000"/>
              <a:gd name="connsiteX70" fmla="*/ 10660062 w 12192000"/>
              <a:gd name="connsiteY70" fmla="*/ 730250 h 6858000"/>
              <a:gd name="connsiteX71" fmla="*/ 10761662 w 12192000"/>
              <a:gd name="connsiteY71" fmla="*/ 793750 h 6858000"/>
              <a:gd name="connsiteX72" fmla="*/ 10902950 w 12192000"/>
              <a:gd name="connsiteY72" fmla="*/ 593725 h 6858000"/>
              <a:gd name="connsiteX73" fmla="*/ 10831512 w 12192000"/>
              <a:gd name="connsiteY73" fmla="*/ 576263 h 6858000"/>
              <a:gd name="connsiteX74" fmla="*/ 10853738 w 12192000"/>
              <a:gd name="connsiteY74" fmla="*/ 508001 h 6858000"/>
              <a:gd name="connsiteX75" fmla="*/ 0 w 12192000"/>
              <a:gd name="connsiteY75" fmla="*/ 0 h 6858000"/>
              <a:gd name="connsiteX76" fmla="*/ 12192000 w 12192000"/>
              <a:gd name="connsiteY76" fmla="*/ 0 h 6858000"/>
              <a:gd name="connsiteX77" fmla="*/ 12192000 w 12192000"/>
              <a:gd name="connsiteY77" fmla="*/ 6858000 h 6858000"/>
              <a:gd name="connsiteX78" fmla="*/ 0 w 12192000"/>
              <a:gd name="connsiteY7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2192000" h="6858000">
                <a:moveTo>
                  <a:pt x="11234738" y="660400"/>
                </a:moveTo>
                <a:cubicBezTo>
                  <a:pt x="11234738" y="702054"/>
                  <a:pt x="11234738" y="702054"/>
                  <a:pt x="11234738" y="702054"/>
                </a:cubicBezTo>
                <a:cubicBezTo>
                  <a:pt x="11232595" y="704246"/>
                  <a:pt x="11226165" y="706438"/>
                  <a:pt x="11217593" y="706438"/>
                </a:cubicBezTo>
                <a:cubicBezTo>
                  <a:pt x="11202591" y="706438"/>
                  <a:pt x="11191875" y="699861"/>
                  <a:pt x="11191875" y="684515"/>
                </a:cubicBezTo>
                <a:cubicBezTo>
                  <a:pt x="11191875" y="671362"/>
                  <a:pt x="11198304" y="662592"/>
                  <a:pt x="11234738" y="660400"/>
                </a:cubicBezTo>
                <a:close/>
                <a:moveTo>
                  <a:pt x="11038328" y="609687"/>
                </a:moveTo>
                <a:cubicBezTo>
                  <a:pt x="11048765" y="610410"/>
                  <a:pt x="11069638" y="617019"/>
                  <a:pt x="11069638" y="658327"/>
                </a:cubicBezTo>
                <a:cubicBezTo>
                  <a:pt x="11069638" y="711200"/>
                  <a:pt x="11028164" y="706794"/>
                  <a:pt x="11028164" y="706794"/>
                </a:cubicBezTo>
                <a:cubicBezTo>
                  <a:pt x="11025981" y="706794"/>
                  <a:pt x="11019433" y="706794"/>
                  <a:pt x="11017250" y="704591"/>
                </a:cubicBezTo>
                <a:cubicBezTo>
                  <a:pt x="11017250" y="612062"/>
                  <a:pt x="11017250" y="612062"/>
                  <a:pt x="11017250" y="612062"/>
                </a:cubicBezTo>
                <a:cubicBezTo>
                  <a:pt x="11023798" y="609859"/>
                  <a:pt x="11032530" y="609859"/>
                  <a:pt x="11032530" y="609859"/>
                </a:cubicBezTo>
                <a:cubicBezTo>
                  <a:pt x="11032530" y="609859"/>
                  <a:pt x="11034849" y="609446"/>
                  <a:pt x="11038328" y="609687"/>
                </a:cubicBezTo>
                <a:close/>
                <a:moveTo>
                  <a:pt x="11226205" y="574675"/>
                </a:moveTo>
                <a:cubicBezTo>
                  <a:pt x="11197828" y="574675"/>
                  <a:pt x="11158538" y="585723"/>
                  <a:pt x="11158538" y="585723"/>
                </a:cubicBezTo>
                <a:cubicBezTo>
                  <a:pt x="11158538" y="610029"/>
                  <a:pt x="11158538" y="610029"/>
                  <a:pt x="11158538" y="610029"/>
                </a:cubicBezTo>
                <a:cubicBezTo>
                  <a:pt x="11158538" y="610029"/>
                  <a:pt x="11176000" y="607820"/>
                  <a:pt x="11204377" y="605610"/>
                </a:cubicBezTo>
                <a:cubicBezTo>
                  <a:pt x="11234936" y="603400"/>
                  <a:pt x="11234936" y="621077"/>
                  <a:pt x="11234936" y="621077"/>
                </a:cubicBezTo>
                <a:cubicBezTo>
                  <a:pt x="11234936" y="638755"/>
                  <a:pt x="11234936" y="638755"/>
                  <a:pt x="11234936" y="638755"/>
                </a:cubicBezTo>
                <a:cubicBezTo>
                  <a:pt x="11224022" y="636545"/>
                  <a:pt x="11141075" y="632126"/>
                  <a:pt x="11145441" y="689576"/>
                </a:cubicBezTo>
                <a:cubicBezTo>
                  <a:pt x="11145441" y="689576"/>
                  <a:pt x="11143258" y="738188"/>
                  <a:pt x="11193462" y="738188"/>
                </a:cubicBezTo>
                <a:cubicBezTo>
                  <a:pt x="11193462" y="738188"/>
                  <a:pt x="11215291" y="738188"/>
                  <a:pt x="11237119" y="724930"/>
                </a:cubicBezTo>
                <a:cubicBezTo>
                  <a:pt x="11237119" y="735978"/>
                  <a:pt x="11237119" y="735978"/>
                  <a:pt x="11237119" y="735978"/>
                </a:cubicBezTo>
                <a:cubicBezTo>
                  <a:pt x="11280775" y="735978"/>
                  <a:pt x="11280775" y="735978"/>
                  <a:pt x="11280775" y="735978"/>
                </a:cubicBezTo>
                <a:cubicBezTo>
                  <a:pt x="11280775" y="735978"/>
                  <a:pt x="11280775" y="676318"/>
                  <a:pt x="11280775" y="629916"/>
                </a:cubicBezTo>
                <a:cubicBezTo>
                  <a:pt x="11280775" y="583514"/>
                  <a:pt x="11252398" y="574675"/>
                  <a:pt x="11226205" y="574675"/>
                </a:cubicBezTo>
                <a:close/>
                <a:moveTo>
                  <a:pt x="11418873" y="573088"/>
                </a:moveTo>
                <a:cubicBezTo>
                  <a:pt x="11401482" y="573088"/>
                  <a:pt x="11377570" y="581819"/>
                  <a:pt x="11368874" y="586185"/>
                </a:cubicBezTo>
                <a:cubicBezTo>
                  <a:pt x="11368874" y="575271"/>
                  <a:pt x="11368874" y="575271"/>
                  <a:pt x="11368874" y="575271"/>
                </a:cubicBezTo>
                <a:cubicBezTo>
                  <a:pt x="11318875" y="575271"/>
                  <a:pt x="11318875" y="575271"/>
                  <a:pt x="11318875" y="575271"/>
                </a:cubicBezTo>
                <a:cubicBezTo>
                  <a:pt x="11318875" y="730250"/>
                  <a:pt x="11318875" y="730250"/>
                  <a:pt x="11318875" y="730250"/>
                </a:cubicBezTo>
                <a:cubicBezTo>
                  <a:pt x="11368874" y="730250"/>
                  <a:pt x="11368874" y="730250"/>
                  <a:pt x="11368874" y="730250"/>
                </a:cubicBezTo>
                <a:cubicBezTo>
                  <a:pt x="11368874" y="610196"/>
                  <a:pt x="11368874" y="610196"/>
                  <a:pt x="11368874" y="610196"/>
                </a:cubicBezTo>
                <a:cubicBezTo>
                  <a:pt x="11375396" y="608013"/>
                  <a:pt x="11390613" y="608013"/>
                  <a:pt x="11390613" y="608013"/>
                </a:cubicBezTo>
                <a:cubicBezTo>
                  <a:pt x="11416699" y="608013"/>
                  <a:pt x="11414525" y="623293"/>
                  <a:pt x="11414525" y="623293"/>
                </a:cubicBezTo>
                <a:cubicBezTo>
                  <a:pt x="11414525" y="730250"/>
                  <a:pt x="11414525" y="730250"/>
                  <a:pt x="11414525" y="730250"/>
                </a:cubicBezTo>
                <a:cubicBezTo>
                  <a:pt x="11464525" y="730250"/>
                  <a:pt x="11464525" y="730250"/>
                  <a:pt x="11464525" y="730250"/>
                </a:cubicBezTo>
                <a:cubicBezTo>
                  <a:pt x="11464525" y="730250"/>
                  <a:pt x="11464525" y="653852"/>
                  <a:pt x="11464525" y="621110"/>
                </a:cubicBezTo>
                <a:cubicBezTo>
                  <a:pt x="11464525" y="616744"/>
                  <a:pt x="11464525" y="612379"/>
                  <a:pt x="11462351" y="610196"/>
                </a:cubicBezTo>
                <a:cubicBezTo>
                  <a:pt x="11473220" y="608013"/>
                  <a:pt x="11486263" y="608013"/>
                  <a:pt x="11486263" y="608013"/>
                </a:cubicBezTo>
                <a:cubicBezTo>
                  <a:pt x="11512350" y="608013"/>
                  <a:pt x="11510176" y="623293"/>
                  <a:pt x="11510176" y="623293"/>
                </a:cubicBezTo>
                <a:cubicBezTo>
                  <a:pt x="11510176" y="730250"/>
                  <a:pt x="11510176" y="730250"/>
                  <a:pt x="11510176" y="730250"/>
                </a:cubicBezTo>
                <a:cubicBezTo>
                  <a:pt x="11560175" y="730250"/>
                  <a:pt x="11560175" y="730250"/>
                  <a:pt x="11560175" y="730250"/>
                </a:cubicBezTo>
                <a:cubicBezTo>
                  <a:pt x="11560175" y="730250"/>
                  <a:pt x="11560175" y="653852"/>
                  <a:pt x="11560175" y="621110"/>
                </a:cubicBezTo>
                <a:cubicBezTo>
                  <a:pt x="11560175" y="586185"/>
                  <a:pt x="11536262" y="573088"/>
                  <a:pt x="11514524" y="573088"/>
                </a:cubicBezTo>
                <a:cubicBezTo>
                  <a:pt x="11486263" y="573088"/>
                  <a:pt x="11458003" y="584002"/>
                  <a:pt x="11451481" y="586185"/>
                </a:cubicBezTo>
                <a:cubicBezTo>
                  <a:pt x="11442786" y="577454"/>
                  <a:pt x="11429743" y="573088"/>
                  <a:pt x="11418873" y="573088"/>
                </a:cubicBezTo>
                <a:close/>
                <a:moveTo>
                  <a:pt x="10966450" y="500063"/>
                </a:moveTo>
                <a:cubicBezTo>
                  <a:pt x="10966450" y="727164"/>
                  <a:pt x="10966450" y="727164"/>
                  <a:pt x="10966450" y="727164"/>
                </a:cubicBezTo>
                <a:cubicBezTo>
                  <a:pt x="10966450" y="727164"/>
                  <a:pt x="11001647" y="738188"/>
                  <a:pt x="11030245" y="738188"/>
                </a:cubicBezTo>
                <a:cubicBezTo>
                  <a:pt x="11058843" y="738188"/>
                  <a:pt x="11120438" y="724959"/>
                  <a:pt x="11120438" y="649994"/>
                </a:cubicBezTo>
                <a:cubicBezTo>
                  <a:pt x="11120438" y="575028"/>
                  <a:pt x="11061043" y="575028"/>
                  <a:pt x="11058843" y="575028"/>
                </a:cubicBezTo>
                <a:cubicBezTo>
                  <a:pt x="11056643" y="575028"/>
                  <a:pt x="11041244" y="575028"/>
                  <a:pt x="11017046" y="588258"/>
                </a:cubicBezTo>
                <a:cubicBezTo>
                  <a:pt x="11017046" y="500063"/>
                  <a:pt x="11017046" y="500063"/>
                  <a:pt x="11017046" y="500063"/>
                </a:cubicBezTo>
                <a:cubicBezTo>
                  <a:pt x="10966450" y="500063"/>
                  <a:pt x="10966450" y="500063"/>
                  <a:pt x="10966450" y="500063"/>
                </a:cubicBezTo>
                <a:close/>
                <a:moveTo>
                  <a:pt x="10783888" y="496888"/>
                </a:moveTo>
                <a:lnTo>
                  <a:pt x="10742612" y="515938"/>
                </a:lnTo>
                <a:lnTo>
                  <a:pt x="10820400" y="530226"/>
                </a:lnTo>
                <a:lnTo>
                  <a:pt x="10799762" y="603250"/>
                </a:lnTo>
                <a:lnTo>
                  <a:pt x="10779125" y="596900"/>
                </a:lnTo>
                <a:lnTo>
                  <a:pt x="10790238" y="549276"/>
                </a:lnTo>
                <a:lnTo>
                  <a:pt x="10707688" y="531813"/>
                </a:lnTo>
                <a:lnTo>
                  <a:pt x="10655300" y="555625"/>
                </a:lnTo>
                <a:lnTo>
                  <a:pt x="10742612" y="579438"/>
                </a:lnTo>
                <a:lnTo>
                  <a:pt x="10726738" y="669925"/>
                </a:lnTo>
                <a:lnTo>
                  <a:pt x="10699750" y="655638"/>
                </a:lnTo>
                <a:lnTo>
                  <a:pt x="10702925" y="603250"/>
                </a:lnTo>
                <a:lnTo>
                  <a:pt x="10614025" y="573088"/>
                </a:lnTo>
                <a:lnTo>
                  <a:pt x="10525125" y="612775"/>
                </a:lnTo>
                <a:lnTo>
                  <a:pt x="10617200" y="658813"/>
                </a:lnTo>
                <a:lnTo>
                  <a:pt x="10623550" y="760413"/>
                </a:lnTo>
                <a:lnTo>
                  <a:pt x="10660062" y="730250"/>
                </a:lnTo>
                <a:lnTo>
                  <a:pt x="10761662" y="793750"/>
                </a:lnTo>
                <a:lnTo>
                  <a:pt x="10902950" y="593725"/>
                </a:lnTo>
                <a:lnTo>
                  <a:pt x="10831512" y="576263"/>
                </a:lnTo>
                <a:lnTo>
                  <a:pt x="10853738" y="508001"/>
                </a:lnTo>
                <a:close/>
                <a:moveTo>
                  <a:pt x="0" y="0"/>
                </a:moveTo>
                <a:lnTo>
                  <a:pt x="12192000" y="0"/>
                </a:lnTo>
                <a:lnTo>
                  <a:pt x="12192000" y="6858000"/>
                </a:lnTo>
                <a:lnTo>
                  <a:pt x="0" y="6858000"/>
                </a:lnTo>
                <a:close/>
              </a:path>
            </a:pathLst>
          </a:custGeom>
          <a:pattFill prst="ltUpDiag">
            <a:fgClr>
              <a:schemeClr val="accent5"/>
            </a:fgClr>
            <a:bgClr>
              <a:schemeClr val="bg1"/>
            </a:bgClr>
          </a:pattFill>
        </p:spPr>
        <p:txBody>
          <a:bodyPr wrap="square">
            <a:noAutofit/>
          </a:bodyPr>
          <a:lstStyle>
            <a:lvl1pPr marL="171450" marR="0" indent="-17145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GB" sz="1400" b="0">
                <a:solidFill>
                  <a:schemeClr val="tx1"/>
                </a:solidFill>
              </a:defRPr>
            </a:lvl1pPr>
          </a:lstStyle>
          <a:p>
            <a:pPr marL="171450" lvl="0" indent="-171450" algn="ctr"/>
            <a:r>
              <a:rPr lang="nl-NL" noProof="0"/>
              <a:t>Klik op het pictogram om een afbeelding in te voegen
</a:t>
            </a:r>
          </a:p>
        </p:txBody>
      </p:sp>
      <p:sp>
        <p:nvSpPr>
          <p:cNvPr id="7" name="AutoShape 3">
            <a:extLst>
              <a:ext uri="{FF2B5EF4-FFF2-40B4-BE49-F238E27FC236}">
                <a16:creationId xmlns:a16="http://schemas.microsoft.com/office/drawing/2014/main" id="{52BDF13A-D9A7-4A1F-BFDC-024C545B2E94}"/>
              </a:ext>
            </a:extLst>
          </p:cNvPr>
          <p:cNvSpPr>
            <a:spLocks noChangeAspect="1" noChangeArrowheads="1" noTextEdit="1"/>
          </p:cNvSpPr>
          <p:nvPr userDrawn="1"/>
        </p:nvSpPr>
        <p:spPr bwMode="auto">
          <a:xfrm>
            <a:off x="10515600" y="493713"/>
            <a:ext cx="1047750"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6" name="Vrije vorm: vorm 15">
            <a:extLst>
              <a:ext uri="{FF2B5EF4-FFF2-40B4-BE49-F238E27FC236}">
                <a16:creationId xmlns:a16="http://schemas.microsoft.com/office/drawing/2014/main" id="{BCE51412-F334-44F2-AAC3-AD684AF87F26}"/>
              </a:ext>
            </a:extLst>
          </p:cNvPr>
          <p:cNvSpPr/>
          <p:nvPr userDrawn="1"/>
        </p:nvSpPr>
        <p:spPr>
          <a:xfrm>
            <a:off x="7377811" y="0"/>
            <a:ext cx="4814189" cy="6867524"/>
          </a:xfrm>
          <a:custGeom>
            <a:avLst/>
            <a:gdLst>
              <a:gd name="connsiteX0" fmla="*/ 3855339 w 4814189"/>
              <a:gd name="connsiteY0" fmla="*/ 657226 h 6867524"/>
              <a:gd name="connsiteX1" fmla="*/ 3855339 w 4814189"/>
              <a:gd name="connsiteY1" fmla="*/ 700315 h 6867524"/>
              <a:gd name="connsiteX2" fmla="*/ 3837559 w 4814189"/>
              <a:gd name="connsiteY2" fmla="*/ 704851 h 6867524"/>
              <a:gd name="connsiteX3" fmla="*/ 3810889 w 4814189"/>
              <a:gd name="connsiteY3" fmla="*/ 682173 h 6867524"/>
              <a:gd name="connsiteX4" fmla="*/ 3855339 w 4814189"/>
              <a:gd name="connsiteY4" fmla="*/ 657226 h 6867524"/>
              <a:gd name="connsiteX5" fmla="*/ 3656394 w 4814189"/>
              <a:gd name="connsiteY5" fmla="*/ 606608 h 6867524"/>
              <a:gd name="connsiteX6" fmla="*/ 3688652 w 4814189"/>
              <a:gd name="connsiteY6" fmla="*/ 655963 h 6867524"/>
              <a:gd name="connsiteX7" fmla="*/ 3645922 w 4814189"/>
              <a:gd name="connsiteY7" fmla="*/ 705143 h 6867524"/>
              <a:gd name="connsiteX8" fmla="*/ 3634677 w 4814189"/>
              <a:gd name="connsiteY8" fmla="*/ 702908 h 6867524"/>
              <a:gd name="connsiteX9" fmla="*/ 3634677 w 4814189"/>
              <a:gd name="connsiteY9" fmla="*/ 609018 h 6867524"/>
              <a:gd name="connsiteX10" fmla="*/ 3650420 w 4814189"/>
              <a:gd name="connsiteY10" fmla="*/ 606783 h 6867524"/>
              <a:gd name="connsiteX11" fmla="*/ 3656394 w 4814189"/>
              <a:gd name="connsiteY11" fmla="*/ 606608 h 6867524"/>
              <a:gd name="connsiteX12" fmla="*/ 3848394 w 4814189"/>
              <a:gd name="connsiteY12" fmla="*/ 574675 h 6867524"/>
              <a:gd name="connsiteX13" fmla="*/ 3780727 w 4814189"/>
              <a:gd name="connsiteY13" fmla="*/ 585723 h 6867524"/>
              <a:gd name="connsiteX14" fmla="*/ 3780727 w 4814189"/>
              <a:gd name="connsiteY14" fmla="*/ 610029 h 6867524"/>
              <a:gd name="connsiteX15" fmla="*/ 3826566 w 4814189"/>
              <a:gd name="connsiteY15" fmla="*/ 605610 h 6867524"/>
              <a:gd name="connsiteX16" fmla="*/ 3857125 w 4814189"/>
              <a:gd name="connsiteY16" fmla="*/ 621077 h 6867524"/>
              <a:gd name="connsiteX17" fmla="*/ 3857125 w 4814189"/>
              <a:gd name="connsiteY17" fmla="*/ 638755 h 6867524"/>
              <a:gd name="connsiteX18" fmla="*/ 3767630 w 4814189"/>
              <a:gd name="connsiteY18" fmla="*/ 689576 h 6867524"/>
              <a:gd name="connsiteX19" fmla="*/ 3815651 w 4814189"/>
              <a:gd name="connsiteY19" fmla="*/ 738188 h 6867524"/>
              <a:gd name="connsiteX20" fmla="*/ 3859308 w 4814189"/>
              <a:gd name="connsiteY20" fmla="*/ 724930 h 6867524"/>
              <a:gd name="connsiteX21" fmla="*/ 3859308 w 4814189"/>
              <a:gd name="connsiteY21" fmla="*/ 735978 h 6867524"/>
              <a:gd name="connsiteX22" fmla="*/ 3902964 w 4814189"/>
              <a:gd name="connsiteY22" fmla="*/ 735978 h 6867524"/>
              <a:gd name="connsiteX23" fmla="*/ 3902964 w 4814189"/>
              <a:gd name="connsiteY23" fmla="*/ 629916 h 6867524"/>
              <a:gd name="connsiteX24" fmla="*/ 3848394 w 4814189"/>
              <a:gd name="connsiteY24" fmla="*/ 574675 h 6867524"/>
              <a:gd name="connsiteX25" fmla="*/ 4041062 w 4814189"/>
              <a:gd name="connsiteY25" fmla="*/ 573088 h 6867524"/>
              <a:gd name="connsiteX26" fmla="*/ 3991063 w 4814189"/>
              <a:gd name="connsiteY26" fmla="*/ 586185 h 6867524"/>
              <a:gd name="connsiteX27" fmla="*/ 3991063 w 4814189"/>
              <a:gd name="connsiteY27" fmla="*/ 575271 h 6867524"/>
              <a:gd name="connsiteX28" fmla="*/ 3941064 w 4814189"/>
              <a:gd name="connsiteY28" fmla="*/ 575271 h 6867524"/>
              <a:gd name="connsiteX29" fmla="*/ 3941064 w 4814189"/>
              <a:gd name="connsiteY29" fmla="*/ 730250 h 6867524"/>
              <a:gd name="connsiteX30" fmla="*/ 3991063 w 4814189"/>
              <a:gd name="connsiteY30" fmla="*/ 730250 h 6867524"/>
              <a:gd name="connsiteX31" fmla="*/ 3991063 w 4814189"/>
              <a:gd name="connsiteY31" fmla="*/ 610196 h 6867524"/>
              <a:gd name="connsiteX32" fmla="*/ 4012802 w 4814189"/>
              <a:gd name="connsiteY32" fmla="*/ 608013 h 6867524"/>
              <a:gd name="connsiteX33" fmla="*/ 4036714 w 4814189"/>
              <a:gd name="connsiteY33" fmla="*/ 623293 h 6867524"/>
              <a:gd name="connsiteX34" fmla="*/ 4036714 w 4814189"/>
              <a:gd name="connsiteY34" fmla="*/ 730250 h 6867524"/>
              <a:gd name="connsiteX35" fmla="*/ 4086714 w 4814189"/>
              <a:gd name="connsiteY35" fmla="*/ 730250 h 6867524"/>
              <a:gd name="connsiteX36" fmla="*/ 4086714 w 4814189"/>
              <a:gd name="connsiteY36" fmla="*/ 621110 h 6867524"/>
              <a:gd name="connsiteX37" fmla="*/ 4084540 w 4814189"/>
              <a:gd name="connsiteY37" fmla="*/ 610196 h 6867524"/>
              <a:gd name="connsiteX38" fmla="*/ 4108452 w 4814189"/>
              <a:gd name="connsiteY38" fmla="*/ 608013 h 6867524"/>
              <a:gd name="connsiteX39" fmla="*/ 4132365 w 4814189"/>
              <a:gd name="connsiteY39" fmla="*/ 623293 h 6867524"/>
              <a:gd name="connsiteX40" fmla="*/ 4132365 w 4814189"/>
              <a:gd name="connsiteY40" fmla="*/ 730250 h 6867524"/>
              <a:gd name="connsiteX41" fmla="*/ 4182364 w 4814189"/>
              <a:gd name="connsiteY41" fmla="*/ 730250 h 6867524"/>
              <a:gd name="connsiteX42" fmla="*/ 4182364 w 4814189"/>
              <a:gd name="connsiteY42" fmla="*/ 621110 h 6867524"/>
              <a:gd name="connsiteX43" fmla="*/ 4136713 w 4814189"/>
              <a:gd name="connsiteY43" fmla="*/ 573088 h 6867524"/>
              <a:gd name="connsiteX44" fmla="*/ 4073670 w 4814189"/>
              <a:gd name="connsiteY44" fmla="*/ 586185 h 6867524"/>
              <a:gd name="connsiteX45" fmla="*/ 4041062 w 4814189"/>
              <a:gd name="connsiteY45" fmla="*/ 573088 h 6867524"/>
              <a:gd name="connsiteX46" fmla="*/ 3588639 w 4814189"/>
              <a:gd name="connsiteY46" fmla="*/ 500063 h 6867524"/>
              <a:gd name="connsiteX47" fmla="*/ 3588639 w 4814189"/>
              <a:gd name="connsiteY47" fmla="*/ 727164 h 6867524"/>
              <a:gd name="connsiteX48" fmla="*/ 3652434 w 4814189"/>
              <a:gd name="connsiteY48" fmla="*/ 738188 h 6867524"/>
              <a:gd name="connsiteX49" fmla="*/ 3742627 w 4814189"/>
              <a:gd name="connsiteY49" fmla="*/ 649994 h 6867524"/>
              <a:gd name="connsiteX50" fmla="*/ 3681032 w 4814189"/>
              <a:gd name="connsiteY50" fmla="*/ 575028 h 6867524"/>
              <a:gd name="connsiteX51" fmla="*/ 3639235 w 4814189"/>
              <a:gd name="connsiteY51" fmla="*/ 588258 h 6867524"/>
              <a:gd name="connsiteX52" fmla="*/ 3639235 w 4814189"/>
              <a:gd name="connsiteY52" fmla="*/ 500063 h 6867524"/>
              <a:gd name="connsiteX53" fmla="*/ 3588639 w 4814189"/>
              <a:gd name="connsiteY53" fmla="*/ 500063 h 6867524"/>
              <a:gd name="connsiteX54" fmla="*/ 3927179 w 4814189"/>
              <a:gd name="connsiteY54" fmla="*/ 0 h 6867524"/>
              <a:gd name="connsiteX55" fmla="*/ 4356989 w 4814189"/>
              <a:gd name="connsiteY55" fmla="*/ 1 h 6867524"/>
              <a:gd name="connsiteX56" fmla="*/ 4356989 w 4814189"/>
              <a:gd name="connsiteY56" fmla="*/ 0 h 6867524"/>
              <a:gd name="connsiteX57" fmla="*/ 4814189 w 4814189"/>
              <a:gd name="connsiteY57" fmla="*/ 0 h 6867524"/>
              <a:gd name="connsiteX58" fmla="*/ 4814189 w 4814189"/>
              <a:gd name="connsiteY58" fmla="*/ 6858000 h 6867524"/>
              <a:gd name="connsiteX59" fmla="*/ 4393184 w 4814189"/>
              <a:gd name="connsiteY59" fmla="*/ 6858000 h 6867524"/>
              <a:gd name="connsiteX60" fmla="*/ 4393184 w 4814189"/>
              <a:gd name="connsiteY60" fmla="*/ 6867524 h 6867524"/>
              <a:gd name="connsiteX61" fmla="*/ 1462191 w 4814189"/>
              <a:gd name="connsiteY61" fmla="*/ 6867524 h 6867524"/>
              <a:gd name="connsiteX62" fmla="*/ 0 w 4814189"/>
              <a:gd name="connsiteY62" fmla="*/ 5745131 h 6867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814189" h="6867524">
                <a:moveTo>
                  <a:pt x="3855339" y="657226"/>
                </a:moveTo>
                <a:cubicBezTo>
                  <a:pt x="3855339" y="700315"/>
                  <a:pt x="3855339" y="700315"/>
                  <a:pt x="3855339" y="700315"/>
                </a:cubicBezTo>
                <a:cubicBezTo>
                  <a:pt x="3853117" y="702583"/>
                  <a:pt x="3846449" y="704851"/>
                  <a:pt x="3837559" y="704851"/>
                </a:cubicBezTo>
                <a:cubicBezTo>
                  <a:pt x="3822001" y="704851"/>
                  <a:pt x="3810889" y="698048"/>
                  <a:pt x="3810889" y="682173"/>
                </a:cubicBezTo>
                <a:cubicBezTo>
                  <a:pt x="3810889" y="668565"/>
                  <a:pt x="3817557" y="659494"/>
                  <a:pt x="3855339" y="657226"/>
                </a:cubicBezTo>
                <a:close/>
                <a:moveTo>
                  <a:pt x="3656394" y="606608"/>
                </a:moveTo>
                <a:cubicBezTo>
                  <a:pt x="3667146" y="607341"/>
                  <a:pt x="3688652" y="614048"/>
                  <a:pt x="3688652" y="655963"/>
                </a:cubicBezTo>
                <a:cubicBezTo>
                  <a:pt x="3688652" y="709614"/>
                  <a:pt x="3645922" y="705143"/>
                  <a:pt x="3645922" y="705143"/>
                </a:cubicBezTo>
                <a:cubicBezTo>
                  <a:pt x="3643673" y="705143"/>
                  <a:pt x="3636926" y="705143"/>
                  <a:pt x="3634677" y="702908"/>
                </a:cubicBezTo>
                <a:cubicBezTo>
                  <a:pt x="3634677" y="609018"/>
                  <a:pt x="3634677" y="609018"/>
                  <a:pt x="3634677" y="609018"/>
                </a:cubicBezTo>
                <a:cubicBezTo>
                  <a:pt x="3641424" y="606783"/>
                  <a:pt x="3650420" y="606783"/>
                  <a:pt x="3650420" y="606783"/>
                </a:cubicBezTo>
                <a:cubicBezTo>
                  <a:pt x="3650420" y="606783"/>
                  <a:pt x="3652809" y="606363"/>
                  <a:pt x="3656394" y="606608"/>
                </a:cubicBezTo>
                <a:close/>
                <a:moveTo>
                  <a:pt x="3848394" y="574675"/>
                </a:moveTo>
                <a:cubicBezTo>
                  <a:pt x="3820017" y="574675"/>
                  <a:pt x="3780727" y="585723"/>
                  <a:pt x="3780727" y="585723"/>
                </a:cubicBezTo>
                <a:cubicBezTo>
                  <a:pt x="3780727" y="610029"/>
                  <a:pt x="3780727" y="610029"/>
                  <a:pt x="3780727" y="610029"/>
                </a:cubicBezTo>
                <a:cubicBezTo>
                  <a:pt x="3780727" y="610029"/>
                  <a:pt x="3798189" y="607820"/>
                  <a:pt x="3826566" y="605610"/>
                </a:cubicBezTo>
                <a:cubicBezTo>
                  <a:pt x="3857125" y="603400"/>
                  <a:pt x="3857125" y="621077"/>
                  <a:pt x="3857125" y="621077"/>
                </a:cubicBezTo>
                <a:cubicBezTo>
                  <a:pt x="3857125" y="638755"/>
                  <a:pt x="3857125" y="638755"/>
                  <a:pt x="3857125" y="638755"/>
                </a:cubicBezTo>
                <a:cubicBezTo>
                  <a:pt x="3846211" y="636545"/>
                  <a:pt x="3763264" y="632126"/>
                  <a:pt x="3767630" y="689576"/>
                </a:cubicBezTo>
                <a:cubicBezTo>
                  <a:pt x="3767630" y="689576"/>
                  <a:pt x="3765447" y="738188"/>
                  <a:pt x="3815651" y="738188"/>
                </a:cubicBezTo>
                <a:cubicBezTo>
                  <a:pt x="3815651" y="738188"/>
                  <a:pt x="3837480" y="738188"/>
                  <a:pt x="3859308" y="724930"/>
                </a:cubicBezTo>
                <a:cubicBezTo>
                  <a:pt x="3859308" y="735978"/>
                  <a:pt x="3859308" y="735978"/>
                  <a:pt x="3859308" y="735978"/>
                </a:cubicBezTo>
                <a:cubicBezTo>
                  <a:pt x="3902964" y="735978"/>
                  <a:pt x="3902964" y="735978"/>
                  <a:pt x="3902964" y="735978"/>
                </a:cubicBezTo>
                <a:cubicBezTo>
                  <a:pt x="3902964" y="735978"/>
                  <a:pt x="3902964" y="676318"/>
                  <a:pt x="3902964" y="629916"/>
                </a:cubicBezTo>
                <a:cubicBezTo>
                  <a:pt x="3902964" y="583514"/>
                  <a:pt x="3874587" y="574675"/>
                  <a:pt x="3848394" y="574675"/>
                </a:cubicBezTo>
                <a:close/>
                <a:moveTo>
                  <a:pt x="4041062" y="573088"/>
                </a:moveTo>
                <a:cubicBezTo>
                  <a:pt x="4023671" y="573088"/>
                  <a:pt x="3999759" y="581819"/>
                  <a:pt x="3991063" y="586185"/>
                </a:cubicBezTo>
                <a:cubicBezTo>
                  <a:pt x="3991063" y="575271"/>
                  <a:pt x="3991063" y="575271"/>
                  <a:pt x="3991063" y="575271"/>
                </a:cubicBezTo>
                <a:cubicBezTo>
                  <a:pt x="3941064" y="575271"/>
                  <a:pt x="3941064" y="575271"/>
                  <a:pt x="3941064" y="575271"/>
                </a:cubicBezTo>
                <a:cubicBezTo>
                  <a:pt x="3941064" y="730250"/>
                  <a:pt x="3941064" y="730250"/>
                  <a:pt x="3941064" y="730250"/>
                </a:cubicBezTo>
                <a:cubicBezTo>
                  <a:pt x="3991063" y="730250"/>
                  <a:pt x="3991063" y="730250"/>
                  <a:pt x="3991063" y="730250"/>
                </a:cubicBezTo>
                <a:cubicBezTo>
                  <a:pt x="3991063" y="610196"/>
                  <a:pt x="3991063" y="610196"/>
                  <a:pt x="3991063" y="610196"/>
                </a:cubicBezTo>
                <a:cubicBezTo>
                  <a:pt x="3997585" y="608013"/>
                  <a:pt x="4012802" y="608013"/>
                  <a:pt x="4012802" y="608013"/>
                </a:cubicBezTo>
                <a:cubicBezTo>
                  <a:pt x="4038888" y="608013"/>
                  <a:pt x="4036714" y="623293"/>
                  <a:pt x="4036714" y="623293"/>
                </a:cubicBezTo>
                <a:cubicBezTo>
                  <a:pt x="4036714" y="730250"/>
                  <a:pt x="4036714" y="730250"/>
                  <a:pt x="4036714" y="730250"/>
                </a:cubicBezTo>
                <a:cubicBezTo>
                  <a:pt x="4086714" y="730250"/>
                  <a:pt x="4086714" y="730250"/>
                  <a:pt x="4086714" y="730250"/>
                </a:cubicBezTo>
                <a:cubicBezTo>
                  <a:pt x="4086714" y="730250"/>
                  <a:pt x="4086714" y="653852"/>
                  <a:pt x="4086714" y="621110"/>
                </a:cubicBezTo>
                <a:cubicBezTo>
                  <a:pt x="4086714" y="616744"/>
                  <a:pt x="4086714" y="612379"/>
                  <a:pt x="4084540" y="610196"/>
                </a:cubicBezTo>
                <a:cubicBezTo>
                  <a:pt x="4095409" y="608013"/>
                  <a:pt x="4108452" y="608013"/>
                  <a:pt x="4108452" y="608013"/>
                </a:cubicBezTo>
                <a:cubicBezTo>
                  <a:pt x="4134539" y="608013"/>
                  <a:pt x="4132365" y="623293"/>
                  <a:pt x="4132365" y="623293"/>
                </a:cubicBezTo>
                <a:cubicBezTo>
                  <a:pt x="4132365" y="730250"/>
                  <a:pt x="4132365" y="730250"/>
                  <a:pt x="4132365" y="730250"/>
                </a:cubicBezTo>
                <a:cubicBezTo>
                  <a:pt x="4182364" y="730250"/>
                  <a:pt x="4182364" y="730250"/>
                  <a:pt x="4182364" y="730250"/>
                </a:cubicBezTo>
                <a:cubicBezTo>
                  <a:pt x="4182364" y="730250"/>
                  <a:pt x="4182364" y="653852"/>
                  <a:pt x="4182364" y="621110"/>
                </a:cubicBezTo>
                <a:cubicBezTo>
                  <a:pt x="4182364" y="586185"/>
                  <a:pt x="4158451" y="573088"/>
                  <a:pt x="4136713" y="573088"/>
                </a:cubicBezTo>
                <a:cubicBezTo>
                  <a:pt x="4108452" y="573088"/>
                  <a:pt x="4080192" y="584002"/>
                  <a:pt x="4073670" y="586185"/>
                </a:cubicBezTo>
                <a:cubicBezTo>
                  <a:pt x="4064975" y="577454"/>
                  <a:pt x="4051932" y="573088"/>
                  <a:pt x="4041062" y="573088"/>
                </a:cubicBezTo>
                <a:close/>
                <a:moveTo>
                  <a:pt x="3588639" y="500063"/>
                </a:moveTo>
                <a:cubicBezTo>
                  <a:pt x="3588639" y="727164"/>
                  <a:pt x="3588639" y="727164"/>
                  <a:pt x="3588639" y="727164"/>
                </a:cubicBezTo>
                <a:cubicBezTo>
                  <a:pt x="3588639" y="727164"/>
                  <a:pt x="3623836" y="738188"/>
                  <a:pt x="3652434" y="738188"/>
                </a:cubicBezTo>
                <a:cubicBezTo>
                  <a:pt x="3681032" y="738188"/>
                  <a:pt x="3742627" y="724959"/>
                  <a:pt x="3742627" y="649994"/>
                </a:cubicBezTo>
                <a:cubicBezTo>
                  <a:pt x="3742627" y="575028"/>
                  <a:pt x="3683232" y="575028"/>
                  <a:pt x="3681032" y="575028"/>
                </a:cubicBezTo>
                <a:cubicBezTo>
                  <a:pt x="3678832" y="575028"/>
                  <a:pt x="3663433" y="575028"/>
                  <a:pt x="3639235" y="588258"/>
                </a:cubicBezTo>
                <a:cubicBezTo>
                  <a:pt x="3639235" y="500063"/>
                  <a:pt x="3639235" y="500063"/>
                  <a:pt x="3639235" y="500063"/>
                </a:cubicBezTo>
                <a:cubicBezTo>
                  <a:pt x="3588639" y="500063"/>
                  <a:pt x="3588639" y="500063"/>
                  <a:pt x="3588639" y="500063"/>
                </a:cubicBezTo>
                <a:close/>
                <a:moveTo>
                  <a:pt x="3927179" y="0"/>
                </a:moveTo>
                <a:lnTo>
                  <a:pt x="4356989" y="1"/>
                </a:lnTo>
                <a:lnTo>
                  <a:pt x="4356989" y="0"/>
                </a:lnTo>
                <a:lnTo>
                  <a:pt x="4814189" y="0"/>
                </a:lnTo>
                <a:lnTo>
                  <a:pt x="4814189" y="6858000"/>
                </a:lnTo>
                <a:lnTo>
                  <a:pt x="4393184" y="6858000"/>
                </a:lnTo>
                <a:lnTo>
                  <a:pt x="4393184" y="6867524"/>
                </a:lnTo>
                <a:lnTo>
                  <a:pt x="1462191" y="6867524"/>
                </a:lnTo>
                <a:lnTo>
                  <a:pt x="0" y="5745131"/>
                </a:lnTo>
                <a:close/>
              </a:path>
            </a:pathLst>
          </a:custGeom>
          <a:gradFill flip="none" rotWithShape="1">
            <a:gsLst>
              <a:gs pos="0">
                <a:schemeClr val="bg1">
                  <a:alpha val="0"/>
                </a:schemeClr>
              </a:gs>
              <a:gs pos="94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nl-NL">
              <a:solidFill>
                <a:srgbClr val="248D37"/>
              </a:solidFill>
            </a:endParaRPr>
          </a:p>
        </p:txBody>
      </p:sp>
      <p:sp>
        <p:nvSpPr>
          <p:cNvPr id="11" name="Text Placeholder 15">
            <a:extLst>
              <a:ext uri="{FF2B5EF4-FFF2-40B4-BE49-F238E27FC236}">
                <a16:creationId xmlns:a16="http://schemas.microsoft.com/office/drawing/2014/main" id="{C90A5E7B-9A96-4742-A663-C4D3029B0DE2}"/>
              </a:ext>
            </a:extLst>
          </p:cNvPr>
          <p:cNvSpPr>
            <a:spLocks noGrp="1"/>
          </p:cNvSpPr>
          <p:nvPr userDrawn="1">
            <p:ph type="body" sz="quarter" idx="11" hasCustomPrompt="1"/>
          </p:nvPr>
        </p:nvSpPr>
        <p:spPr>
          <a:xfrm>
            <a:off x="1514475" y="3629025"/>
            <a:ext cx="9010650" cy="1076325"/>
          </a:xfrm>
          <a:prstGeom prst="rect">
            <a:avLst/>
          </a:prstGeom>
        </p:spPr>
        <p:txBody>
          <a:bodyPr/>
          <a:lstStyle>
            <a:lvl1pPr marL="0" indent="0" rtl="0">
              <a:lnSpc>
                <a:spcPct val="100000"/>
              </a:lnSpc>
              <a:spcBef>
                <a:spcPts val="0"/>
              </a:spcBef>
              <a:spcAft>
                <a:spcPts val="0"/>
              </a:spcAft>
              <a:buNone/>
              <a:defRPr sz="3600" b="1">
                <a:solidFill>
                  <a:schemeClr val="bg1"/>
                </a:solidFill>
              </a:defRPr>
            </a:lvl1pPr>
            <a:lvl2pPr marL="0" indent="0" rtl="0">
              <a:lnSpc>
                <a:spcPct val="100000"/>
              </a:lnSpc>
              <a:spcBef>
                <a:spcPts val="0"/>
              </a:spcBef>
              <a:spcAft>
                <a:spcPts val="0"/>
              </a:spcAft>
              <a:buNone/>
              <a:defRPr sz="2800" b="0">
                <a:solidFill>
                  <a:schemeClr val="bg1"/>
                </a:solidFill>
              </a:defRPr>
            </a:lvl2pPr>
            <a:lvl3pPr marL="180975" indent="-180975">
              <a:lnSpc>
                <a:spcPct val="100000"/>
              </a:lnSpc>
              <a:spcBef>
                <a:spcPts val="1200"/>
              </a:spcBef>
              <a:buClr>
                <a:schemeClr val="accent2"/>
              </a:buClr>
              <a:buFont typeface="Arial" panose="020B0604020202020204" pitchFamily="34" charset="0"/>
              <a:buChar char="•"/>
              <a:defRPr sz="1800"/>
            </a:lvl3pPr>
            <a:lvl4pPr marL="0" indent="0">
              <a:lnSpc>
                <a:spcPct val="100000"/>
              </a:lnSpc>
              <a:spcBef>
                <a:spcPts val="1200"/>
              </a:spcBef>
              <a:buNone/>
              <a:defRPr b="1">
                <a:solidFill>
                  <a:schemeClr val="accent3"/>
                </a:solidFill>
              </a:defRPr>
            </a:lvl4pPr>
            <a:lvl5pPr marL="0" indent="0">
              <a:lnSpc>
                <a:spcPct val="100000"/>
              </a:lnSpc>
              <a:spcBef>
                <a:spcPts val="1200"/>
              </a:spcBef>
              <a:buNone/>
              <a:defRPr sz="1200"/>
            </a:lvl5pPr>
          </a:lstStyle>
          <a:p>
            <a:r>
              <a:rPr lang="nl-NL" noProof="0"/>
              <a:t>Titel presentatie</a:t>
            </a:r>
          </a:p>
          <a:p>
            <a:pPr lvl="1"/>
            <a:r>
              <a:rPr lang="nl-NL" noProof="0"/>
              <a:t>Subtitel</a:t>
            </a:r>
          </a:p>
        </p:txBody>
      </p:sp>
      <p:sp>
        <p:nvSpPr>
          <p:cNvPr id="5" name="Text Placeholder 4">
            <a:extLst>
              <a:ext uri="{FF2B5EF4-FFF2-40B4-BE49-F238E27FC236}">
                <a16:creationId xmlns:a16="http://schemas.microsoft.com/office/drawing/2014/main" id="{29A46D08-0023-4F07-B56A-C48AE36F0313}"/>
              </a:ext>
            </a:extLst>
          </p:cNvPr>
          <p:cNvSpPr>
            <a:spLocks noGrp="1"/>
          </p:cNvSpPr>
          <p:nvPr userDrawn="1">
            <p:ph type="body" sz="quarter" idx="12" hasCustomPrompt="1"/>
          </p:nvPr>
        </p:nvSpPr>
        <p:spPr>
          <a:xfrm>
            <a:off x="1514475" y="5000625"/>
            <a:ext cx="9010650" cy="781050"/>
          </a:xfrm>
          <a:prstGeom prst="rect">
            <a:avLst/>
          </a:prstGeom>
        </p:spPr>
        <p:txBody>
          <a:bodyPr/>
          <a:lstStyle>
            <a:lvl1pPr marL="0" indent="0" rtl="0">
              <a:lnSpc>
                <a:spcPct val="100000"/>
              </a:lnSpc>
              <a:spcBef>
                <a:spcPts val="0"/>
              </a:spcBef>
              <a:spcAft>
                <a:spcPts val="0"/>
              </a:spcAft>
              <a:buNone/>
              <a:defRPr sz="2000" b="1">
                <a:solidFill>
                  <a:schemeClr val="bg1"/>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r>
              <a:rPr lang="nl-NL" noProof="0"/>
              <a:t>Persoonsnaam</a:t>
            </a:r>
          </a:p>
          <a:p>
            <a:r>
              <a:rPr lang="nl-NL" noProof="0"/>
              <a:t>Afdeling / werkmaatschappij</a:t>
            </a:r>
          </a:p>
        </p:txBody>
      </p:sp>
    </p:spTree>
    <p:extLst>
      <p:ext uri="{BB962C8B-B14F-4D97-AF65-F5344CB8AC3E}">
        <p14:creationId xmlns:p14="http://schemas.microsoft.com/office/powerpoint/2010/main" val="776097740"/>
      </p:ext>
    </p:extLst>
  </p:cSld>
  <p:clrMapOvr>
    <a:masterClrMapping/>
  </p:clrMapOvr>
  <p:extLst>
    <p:ext uri="{DCECCB84-F9BA-43D5-87BE-67443E8EF086}">
      <p15:sldGuideLst xmlns:p15="http://schemas.microsoft.com/office/powerpoint/2012/main">
        <p15:guide id="1" pos="3840">
          <p15:clr>
            <a:srgbClr val="FBAE40"/>
          </p15:clr>
        </p15:guide>
        <p15:guide id="2" pos="99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arison text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37635CA-4E2F-4CE5-8334-B53B560A693C}"/>
              </a:ext>
            </a:extLst>
          </p:cNvPr>
          <p:cNvGraphicFramePr>
            <a:graphicFrameLocks noChangeAspect="1"/>
          </p:cNvGraphicFramePr>
          <p:nvPr userDrawn="1">
            <p:custDataLst>
              <p:tags r:id="rId1"/>
            </p:custDataLst>
            <p:extLst>
              <p:ext uri="{D42A27DB-BD31-4B8C-83A1-F6EECF244321}">
                <p14:modId xmlns:p14="http://schemas.microsoft.com/office/powerpoint/2010/main" val="184435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C37635CA-4E2F-4CE5-8334-B53B560A69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3">
            <a:extLst>
              <a:ext uri="{FF2B5EF4-FFF2-40B4-BE49-F238E27FC236}">
                <a16:creationId xmlns:a16="http://schemas.microsoft.com/office/drawing/2014/main" id="{7123375D-DDBD-47BD-A2E0-4AE6E76D23F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200"/>
            <a:ext cx="2975049"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5" name="Tijdelijke aanduiding voor tekst 5">
            <a:extLst>
              <a:ext uri="{FF2B5EF4-FFF2-40B4-BE49-F238E27FC236}">
                <a16:creationId xmlns:a16="http://schemas.microsoft.com/office/drawing/2014/main" id="{63107E54-C3E5-403B-B65F-53F727038DF8}"/>
              </a:ext>
            </a:extLst>
          </p:cNvPr>
          <p:cNvSpPr>
            <a:spLocks noGrp="1"/>
          </p:cNvSpPr>
          <p:nvPr>
            <p:ph type="body" sz="quarter" idx="25" hasCustomPrompt="1"/>
          </p:nvPr>
        </p:nvSpPr>
        <p:spPr>
          <a:xfrm>
            <a:off x="4360850" y="1825200"/>
            <a:ext cx="2940401"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1" name="Tijdelijke aanduiding voor tekst 7">
            <a:extLst>
              <a:ext uri="{FF2B5EF4-FFF2-40B4-BE49-F238E27FC236}">
                <a16:creationId xmlns:a16="http://schemas.microsoft.com/office/drawing/2014/main" id="{3EF2CF4E-DA51-4347-B47D-9C514272DD7B}"/>
              </a:ext>
            </a:extLst>
          </p:cNvPr>
          <p:cNvSpPr>
            <a:spLocks noGrp="1"/>
          </p:cNvSpPr>
          <p:nvPr>
            <p:ph type="body" sz="quarter" idx="12" hasCustomPrompt="1"/>
          </p:nvPr>
        </p:nvSpPr>
        <p:spPr>
          <a:xfrm>
            <a:off x="4367113" y="1242000"/>
            <a:ext cx="2934138"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2" name="Tijdelijke aanduiding voor tekst 7">
            <a:extLst>
              <a:ext uri="{FF2B5EF4-FFF2-40B4-BE49-F238E27FC236}">
                <a16:creationId xmlns:a16="http://schemas.microsoft.com/office/drawing/2014/main" id="{A1E262D8-254D-4736-A819-92DE0970A2E9}"/>
              </a:ext>
            </a:extLst>
          </p:cNvPr>
          <p:cNvSpPr>
            <a:spLocks noGrp="1"/>
          </p:cNvSpPr>
          <p:nvPr>
            <p:ph type="body" sz="quarter" idx="14" hasCustomPrompt="1"/>
          </p:nvPr>
        </p:nvSpPr>
        <p:spPr>
          <a:xfrm>
            <a:off x="1055688" y="1242000"/>
            <a:ext cx="2975049"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3" name="Tijdelijke aanduiding voor tekst 7">
            <a:extLst>
              <a:ext uri="{FF2B5EF4-FFF2-40B4-BE49-F238E27FC236}">
                <a16:creationId xmlns:a16="http://schemas.microsoft.com/office/drawing/2014/main" id="{8578B8C7-DD3D-49B4-817A-17D68FCE2E70}"/>
              </a:ext>
            </a:extLst>
          </p:cNvPr>
          <p:cNvSpPr>
            <a:spLocks noGrp="1"/>
          </p:cNvSpPr>
          <p:nvPr>
            <p:ph type="body" sz="quarter" idx="16" hasCustomPrompt="1"/>
          </p:nvPr>
        </p:nvSpPr>
        <p:spPr>
          <a:xfrm>
            <a:off x="7631365" y="1242000"/>
            <a:ext cx="2894810"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4" name="Tijdelijke aanduiding voor tekst 5">
            <a:extLst>
              <a:ext uri="{FF2B5EF4-FFF2-40B4-BE49-F238E27FC236}">
                <a16:creationId xmlns:a16="http://schemas.microsoft.com/office/drawing/2014/main" id="{FF9CC62C-C93A-434D-9D8C-F2203362D332}"/>
              </a:ext>
            </a:extLst>
          </p:cNvPr>
          <p:cNvSpPr>
            <a:spLocks noGrp="1"/>
          </p:cNvSpPr>
          <p:nvPr>
            <p:ph type="body" sz="quarter" idx="26" hasCustomPrompt="1"/>
          </p:nvPr>
        </p:nvSpPr>
        <p:spPr>
          <a:xfrm>
            <a:off x="7631364" y="1825200"/>
            <a:ext cx="2901073"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3660947294"/>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mage &amp;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4F82B99-DE8B-4DCC-8C40-B238471B96F6}"/>
              </a:ext>
            </a:extLst>
          </p:cNvPr>
          <p:cNvGraphicFramePr>
            <a:graphicFrameLocks noChangeAspect="1"/>
          </p:cNvGraphicFramePr>
          <p:nvPr userDrawn="1">
            <p:custDataLst>
              <p:tags r:id="rId1"/>
            </p:custDataLst>
            <p:extLst>
              <p:ext uri="{D42A27DB-BD31-4B8C-83A1-F6EECF244321}">
                <p14:modId xmlns:p14="http://schemas.microsoft.com/office/powerpoint/2010/main" val="2451720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24F82B99-DE8B-4DCC-8C40-B238471B96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Freeform 13">
            <a:extLst>
              <a:ext uri="{FF2B5EF4-FFF2-40B4-BE49-F238E27FC236}">
                <a16:creationId xmlns:a16="http://schemas.microsoft.com/office/drawing/2014/main" id="{A9453A20-CF63-4EAF-8A85-B3AD80F727F6}"/>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1" name="Rectangle 10">
            <a:extLst>
              <a:ext uri="{FF2B5EF4-FFF2-40B4-BE49-F238E27FC236}">
                <a16:creationId xmlns:a16="http://schemas.microsoft.com/office/drawing/2014/main" id="{679BDF9A-0461-4EF8-ABCF-139EB08084DC}"/>
              </a:ext>
            </a:extLst>
          </p:cNvPr>
          <p:cNvSpPr/>
          <p:nvPr userDrawn="1"/>
        </p:nvSpPr>
        <p:spPr>
          <a:xfrm>
            <a:off x="7840664" y="1238252"/>
            <a:ext cx="4351336" cy="4416425"/>
          </a:xfrm>
          <a:prstGeom prst="rect">
            <a:avLst/>
          </a:prstGeom>
          <a:gradFill flip="none" rotWithShape="1">
            <a:gsLst>
              <a:gs pos="0">
                <a:schemeClr val="accent1"/>
              </a:gs>
              <a:gs pos="63000">
                <a:schemeClr val="accent3"/>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4" name="Freeform: Shape 13">
            <a:extLst>
              <a:ext uri="{FF2B5EF4-FFF2-40B4-BE49-F238E27FC236}">
                <a16:creationId xmlns:a16="http://schemas.microsoft.com/office/drawing/2014/main" id="{C6A53122-E18E-413B-974E-D3CAD46C9444}"/>
              </a:ext>
            </a:extLst>
          </p:cNvPr>
          <p:cNvSpPr/>
          <p:nvPr userDrawn="1"/>
        </p:nvSpPr>
        <p:spPr>
          <a:xfrm>
            <a:off x="11176001" y="4343402"/>
            <a:ext cx="1018295" cy="1311275"/>
          </a:xfrm>
          <a:custGeom>
            <a:avLst/>
            <a:gdLst>
              <a:gd name="connsiteX0" fmla="*/ 1233715 w 1248229"/>
              <a:gd name="connsiteY0" fmla="*/ 1799771 h 1799771"/>
              <a:gd name="connsiteX1" fmla="*/ 0 w 1248229"/>
              <a:gd name="connsiteY1" fmla="*/ 1799771 h 1799771"/>
              <a:gd name="connsiteX2" fmla="*/ 1248229 w 1248229"/>
              <a:gd name="connsiteY2" fmla="*/ 0 h 1799771"/>
              <a:gd name="connsiteX3" fmla="*/ 1233715 w 1248229"/>
              <a:gd name="connsiteY3" fmla="*/ 1799771 h 1799771"/>
              <a:gd name="connsiteX0" fmla="*/ 1250679 w 1250679"/>
              <a:gd name="connsiteY0" fmla="*/ 1799771 h 1799771"/>
              <a:gd name="connsiteX1" fmla="*/ 0 w 1250679"/>
              <a:gd name="connsiteY1" fmla="*/ 1799771 h 1799771"/>
              <a:gd name="connsiteX2" fmla="*/ 1248229 w 1250679"/>
              <a:gd name="connsiteY2" fmla="*/ 0 h 1799771"/>
              <a:gd name="connsiteX3" fmla="*/ 1250679 w 1250679"/>
              <a:gd name="connsiteY3" fmla="*/ 1799771 h 1799771"/>
            </a:gdLst>
            <a:ahLst/>
            <a:cxnLst>
              <a:cxn ang="0">
                <a:pos x="connsiteX0" y="connsiteY0"/>
              </a:cxn>
              <a:cxn ang="0">
                <a:pos x="connsiteX1" y="connsiteY1"/>
              </a:cxn>
              <a:cxn ang="0">
                <a:pos x="connsiteX2" y="connsiteY2"/>
              </a:cxn>
              <a:cxn ang="0">
                <a:pos x="connsiteX3" y="connsiteY3"/>
              </a:cxn>
            </a:cxnLst>
            <a:rect l="l" t="t" r="r" b="b"/>
            <a:pathLst>
              <a:path w="1250679" h="1799771">
                <a:moveTo>
                  <a:pt x="1250679" y="1799771"/>
                </a:moveTo>
                <a:lnTo>
                  <a:pt x="0" y="1799771"/>
                </a:lnTo>
                <a:lnTo>
                  <a:pt x="1248229" y="0"/>
                </a:lnTo>
                <a:cubicBezTo>
                  <a:pt x="1249046" y="599924"/>
                  <a:pt x="1249862" y="1199847"/>
                  <a:pt x="1250679" y="1799771"/>
                </a:cubicBezTo>
                <a:close/>
              </a:path>
            </a:pathLst>
          </a:custGeom>
          <a:solidFill>
            <a:srgbClr val="A5C8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0" name="Picture Placeholder 9">
            <a:extLst>
              <a:ext uri="{FF2B5EF4-FFF2-40B4-BE49-F238E27FC236}">
                <a16:creationId xmlns:a16="http://schemas.microsoft.com/office/drawing/2014/main" id="{70D2ED9A-854C-4E0D-9501-B36DEE641015}"/>
              </a:ext>
            </a:extLst>
          </p:cNvPr>
          <p:cNvSpPr>
            <a:spLocks noGrp="1"/>
          </p:cNvSpPr>
          <p:nvPr>
            <p:ph type="pic" sz="quarter" idx="10" hasCustomPrompt="1"/>
          </p:nvPr>
        </p:nvSpPr>
        <p:spPr>
          <a:xfrm>
            <a:off x="1055688" y="1242000"/>
            <a:ext cx="6784977" cy="4416425"/>
          </a:xfrm>
          <a:prstGeom prst="rect">
            <a:avLst/>
          </a:prstGeom>
          <a:pattFill prst="ltUpDiag">
            <a:fgClr>
              <a:schemeClr val="accent5"/>
            </a:fgClr>
            <a:bgClr>
              <a:schemeClr val="bg1"/>
            </a:bgClr>
          </a:pattFill>
        </p:spPr>
        <p:txBody>
          <a:bodyPr/>
          <a:lstStyle>
            <a:lvl1pPr marL="171450" indent="-171450" algn="ctr" rtl="0">
              <a:buNone/>
              <a:defRPr lang="nl-NL" sz="1350" b="0" dirty="0">
                <a:solidFill>
                  <a:schemeClr val="tx1"/>
                </a:solidFill>
              </a:defRPr>
            </a:lvl1pPr>
          </a:lstStyle>
          <a:p>
            <a:pPr marL="171450" lvl="0" indent="-171450" algn="ctr"/>
            <a:r>
              <a:rPr lang="nl-NL" noProof="0"/>
              <a:t>Klik op het pictogram om een afbeelding in te voegen
</a:t>
            </a:r>
          </a:p>
        </p:txBody>
      </p:sp>
      <p:grpSp>
        <p:nvGrpSpPr>
          <p:cNvPr id="2" name="Group 1">
            <a:extLst>
              <a:ext uri="{FF2B5EF4-FFF2-40B4-BE49-F238E27FC236}">
                <a16:creationId xmlns:a16="http://schemas.microsoft.com/office/drawing/2014/main" id="{7D3F8092-4AE1-4C16-87A7-EC5F55D3042A}"/>
              </a:ext>
            </a:extLst>
          </p:cNvPr>
          <p:cNvGrpSpPr/>
          <p:nvPr userDrawn="1"/>
        </p:nvGrpSpPr>
        <p:grpSpPr>
          <a:xfrm>
            <a:off x="7840664" y="1244282"/>
            <a:ext cx="3183281" cy="4410393"/>
            <a:chOff x="-9525" y="-9527"/>
            <a:chExt cx="4951518" cy="6877051"/>
          </a:xfrm>
        </p:grpSpPr>
        <p:sp>
          <p:nvSpPr>
            <p:cNvPr id="12" name="Freeform: Shape 11">
              <a:extLst>
                <a:ext uri="{FF2B5EF4-FFF2-40B4-BE49-F238E27FC236}">
                  <a16:creationId xmlns:a16="http://schemas.microsoft.com/office/drawing/2014/main" id="{A5102F1D-0542-4FCB-8F02-BD249953FC53}"/>
                </a:ext>
              </a:extLst>
            </p:cNvPr>
            <p:cNvSpPr/>
            <p:nvPr userDrawn="1"/>
          </p:nvSpPr>
          <p:spPr>
            <a:xfrm>
              <a:off x="-9525" y="-9527"/>
              <a:ext cx="4286250"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3" name="Freeform: Shape 12">
              <a:extLst>
                <a:ext uri="{FF2B5EF4-FFF2-40B4-BE49-F238E27FC236}">
                  <a16:creationId xmlns:a16="http://schemas.microsoft.com/office/drawing/2014/main" id="{AAE48201-1025-45C7-BAE3-1E134883177D}"/>
                </a:ext>
              </a:extLst>
            </p:cNvPr>
            <p:cNvSpPr/>
            <p:nvPr userDrawn="1"/>
          </p:nvSpPr>
          <p:spPr>
            <a:xfrm>
              <a:off x="2916767" y="5740663"/>
              <a:ext cx="2025226"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grpSp>
      <p:sp>
        <p:nvSpPr>
          <p:cNvPr id="19" name="Text Placeholder 18">
            <a:extLst>
              <a:ext uri="{FF2B5EF4-FFF2-40B4-BE49-F238E27FC236}">
                <a16:creationId xmlns:a16="http://schemas.microsoft.com/office/drawing/2014/main" id="{766530C3-4A09-4A28-9D47-83C0CA7CBD72}"/>
              </a:ext>
            </a:extLst>
          </p:cNvPr>
          <p:cNvSpPr>
            <a:spLocks noGrp="1"/>
          </p:cNvSpPr>
          <p:nvPr>
            <p:ph type="body" sz="quarter" idx="11" hasCustomPrompt="1"/>
          </p:nvPr>
        </p:nvSpPr>
        <p:spPr>
          <a:xfrm>
            <a:off x="8085138" y="1524002"/>
            <a:ext cx="3700463" cy="4091305"/>
          </a:xfrm>
          <a:prstGeom prst="rect">
            <a:avLst/>
          </a:prstGeom>
        </p:spPr>
        <p:txBody>
          <a:bodyPr/>
          <a:lstStyle>
            <a:lvl1pPr marL="0" indent="0">
              <a:buNone/>
              <a:defRPr sz="1050">
                <a:solidFill>
                  <a:schemeClr val="bg1"/>
                </a:solidFill>
              </a:defRPr>
            </a:lvl1pPr>
            <a:lvl2pPr marL="342900" indent="0">
              <a:buNone/>
              <a:defRPr sz="900">
                <a:solidFill>
                  <a:schemeClr val="bg1"/>
                </a:solidFill>
              </a:defRPr>
            </a:lvl2pPr>
            <a:lvl3pPr marL="685800" indent="0">
              <a:buNone/>
              <a:defRPr sz="825">
                <a:solidFill>
                  <a:schemeClr val="bg1"/>
                </a:solidFill>
              </a:defRPr>
            </a:lvl3pPr>
            <a:lvl4pPr marL="1028700" indent="0">
              <a:buNone/>
              <a:defRPr sz="788">
                <a:solidFill>
                  <a:schemeClr val="bg1"/>
                </a:solidFill>
              </a:defRPr>
            </a:lvl4pPr>
            <a:lvl5pPr marL="1371600" indent="0">
              <a:buNone/>
              <a:defRPr sz="788">
                <a:solidFill>
                  <a:schemeClr val="bg1"/>
                </a:solidFill>
              </a:defRPr>
            </a:lvl5pPr>
          </a:lstStyle>
          <a:p>
            <a:pPr lvl="0"/>
            <a:r>
              <a:rPr lang="nl-NL" noProof="0" dirty="0"/>
              <a:t>Plaats hier uw tekst</a:t>
            </a:r>
            <a:r>
              <a:rPr lang="en-GB" noProof="0" dirty="0"/>
              <a:t>
</a:t>
            </a:r>
          </a:p>
        </p:txBody>
      </p:sp>
      <p:sp>
        <p:nvSpPr>
          <p:cNvPr id="21" name="Rechthoek 6">
            <a:extLst>
              <a:ext uri="{FF2B5EF4-FFF2-40B4-BE49-F238E27FC236}">
                <a16:creationId xmlns:a16="http://schemas.microsoft.com/office/drawing/2014/main" id="{82928A70-FEFE-4163-ABDB-A78909E0EF28}"/>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Tree>
    <p:extLst>
      <p:ext uri="{BB962C8B-B14F-4D97-AF65-F5344CB8AC3E}">
        <p14:creationId xmlns:p14="http://schemas.microsoft.com/office/powerpoint/2010/main" val="3828172001"/>
      </p:ext>
    </p:extLst>
  </p:cSld>
  <p:clrMapOvr>
    <a:masterClrMapping/>
  </p:clrMapOvr>
  <p:extLst>
    <p:ext uri="{DCECCB84-F9BA-43D5-87BE-67443E8EF086}">
      <p15:sldGuideLst xmlns:p15="http://schemas.microsoft.com/office/powerpoint/2012/main">
        <p15:guide id="1" orient="horz" pos="777" userDrawn="1">
          <p15:clr>
            <a:srgbClr val="FBAE40"/>
          </p15:clr>
        </p15:guide>
        <p15:guide id="2" pos="665"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F677FC-E07D-426E-AEE9-09BB9B1B7947}"/>
              </a:ext>
            </a:extLst>
          </p:cNvPr>
          <p:cNvGraphicFramePr>
            <a:graphicFrameLocks noChangeAspect="1"/>
          </p:cNvGraphicFramePr>
          <p:nvPr userDrawn="1">
            <p:custDataLst>
              <p:tags r:id="rId1"/>
            </p:custDataLst>
            <p:extLst>
              <p:ext uri="{D42A27DB-BD31-4B8C-83A1-F6EECF244321}">
                <p14:modId xmlns:p14="http://schemas.microsoft.com/office/powerpoint/2010/main" val="2037753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34F677FC-E07D-426E-AEE9-09BB9B1B79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8F8E8013-F649-4BBA-B7DC-6DE1E7273FCD}"/>
              </a:ext>
            </a:extLst>
          </p:cNvPr>
          <p:cNvSpPr/>
          <p:nvPr userDrawn="1"/>
        </p:nvSpPr>
        <p:spPr>
          <a:xfrm>
            <a:off x="1055688" y="6256212"/>
            <a:ext cx="9871868" cy="6017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9" name="Freeform 13">
            <a:extLst>
              <a:ext uri="{FF2B5EF4-FFF2-40B4-BE49-F238E27FC236}">
                <a16:creationId xmlns:a16="http://schemas.microsoft.com/office/drawing/2014/main" id="{9AFF051C-D5DF-42DA-92A1-23F95FD19F1F}"/>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0" name="Picture Placeholder 9">
            <a:extLst>
              <a:ext uri="{FF2B5EF4-FFF2-40B4-BE49-F238E27FC236}">
                <a16:creationId xmlns:a16="http://schemas.microsoft.com/office/drawing/2014/main" id="{70D2ED9A-854C-4E0D-9501-B36DEE641015}"/>
              </a:ext>
            </a:extLst>
          </p:cNvPr>
          <p:cNvSpPr>
            <a:spLocks noGrp="1"/>
          </p:cNvSpPr>
          <p:nvPr>
            <p:ph type="pic" sz="quarter" idx="10" hasCustomPrompt="1"/>
          </p:nvPr>
        </p:nvSpPr>
        <p:spPr>
          <a:xfrm>
            <a:off x="1055688" y="1242000"/>
            <a:ext cx="11136313" cy="5022726"/>
          </a:xfrm>
          <a:prstGeom prst="rect">
            <a:avLst/>
          </a:prstGeom>
          <a:pattFill prst="ltUpDiag">
            <a:fgClr>
              <a:schemeClr val="accent5"/>
            </a:fgClr>
            <a:bgClr>
              <a:schemeClr val="bg1"/>
            </a:bgClr>
          </a:pattFill>
        </p:spPr>
        <p:txBody>
          <a:bodyPr/>
          <a:lstStyle>
            <a:lvl1pPr marL="171450" indent="-171450" algn="ctr" rtl="0">
              <a:buNone/>
              <a:defRPr lang="nl-NL" sz="1350" b="0" dirty="0">
                <a:solidFill>
                  <a:schemeClr val="tx1"/>
                </a:solidFill>
              </a:defRPr>
            </a:lvl1pPr>
          </a:lstStyle>
          <a:p>
            <a:pPr marL="171450" lvl="0" indent="-171450" algn="ctr"/>
            <a:r>
              <a:rPr lang="nl-NL" noProof="0" dirty="0"/>
              <a:t>Klik op het pictogram om een afbeelding in te voegen
</a:t>
            </a:r>
          </a:p>
        </p:txBody>
      </p:sp>
      <p:sp>
        <p:nvSpPr>
          <p:cNvPr id="5" name="Text Placeholder 4">
            <a:extLst>
              <a:ext uri="{FF2B5EF4-FFF2-40B4-BE49-F238E27FC236}">
                <a16:creationId xmlns:a16="http://schemas.microsoft.com/office/drawing/2014/main" id="{3595E803-D9D6-4C73-BAED-8D75C8F0931A}"/>
              </a:ext>
            </a:extLst>
          </p:cNvPr>
          <p:cNvSpPr>
            <a:spLocks noGrp="1"/>
          </p:cNvSpPr>
          <p:nvPr userDrawn="1">
            <p:ph type="body" sz="quarter" idx="11" hasCustomPrompt="1"/>
          </p:nvPr>
        </p:nvSpPr>
        <p:spPr>
          <a:xfrm>
            <a:off x="1264444" y="6372956"/>
            <a:ext cx="8539957" cy="368300"/>
          </a:xfrm>
          <a:prstGeom prst="rect">
            <a:avLst/>
          </a:prstGeom>
        </p:spPr>
        <p:txBody>
          <a:bodyPr anchor="ctr" anchorCtr="0"/>
          <a:lstStyle>
            <a:lvl1pPr marL="0" indent="0" rtl="0">
              <a:buNone/>
              <a:defRPr lang="nl-NL" sz="900" b="0" kern="1200" noProof="0" dirty="0" smtClean="0">
                <a:solidFill>
                  <a:schemeClr val="tx1"/>
                </a:solidFill>
                <a:latin typeface="+mn-lt"/>
                <a:ea typeface="+mn-ea"/>
                <a:cs typeface="+mn-cs"/>
              </a:defRPr>
            </a:lvl1pPr>
            <a:lvl2pPr marL="342900" indent="0">
              <a:buNone/>
              <a:defRPr/>
            </a:lvl2pPr>
          </a:lstStyle>
          <a:p>
            <a:pPr lvl="0"/>
            <a:r>
              <a:rPr lang="nl-NL" noProof="0" dirty="0"/>
              <a:t>Vul hier een bijschrift in</a:t>
            </a:r>
          </a:p>
        </p:txBody>
      </p:sp>
      <p:sp>
        <p:nvSpPr>
          <p:cNvPr id="14" name="Rechthoek 6">
            <a:extLst>
              <a:ext uri="{FF2B5EF4-FFF2-40B4-BE49-F238E27FC236}">
                <a16:creationId xmlns:a16="http://schemas.microsoft.com/office/drawing/2014/main" id="{33645031-9916-4D91-89D3-08FF6AB4462D}"/>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Tree>
    <p:extLst>
      <p:ext uri="{BB962C8B-B14F-4D97-AF65-F5344CB8AC3E}">
        <p14:creationId xmlns:p14="http://schemas.microsoft.com/office/powerpoint/2010/main" val="2608970445"/>
      </p:ext>
    </p:extLst>
  </p:cSld>
  <p:clrMapOvr>
    <a:masterClrMapping/>
  </p:clrMapOvr>
  <p:extLst>
    <p:ext uri="{DCECCB84-F9BA-43D5-87BE-67443E8EF086}">
      <p15:sldGuideLst xmlns:p15="http://schemas.microsoft.com/office/powerpoint/2012/main">
        <p15:guide id="1" orient="horz" pos="777" userDrawn="1">
          <p15:clr>
            <a:srgbClr val="FBAE40"/>
          </p15:clr>
        </p15:guide>
        <p15:guide id="2" pos="66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 phot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CCCC44-E061-41A1-984A-C2CADA70991A}"/>
              </a:ext>
            </a:extLst>
          </p:cNvPr>
          <p:cNvGraphicFramePr>
            <a:graphicFrameLocks noChangeAspect="1"/>
          </p:cNvGraphicFramePr>
          <p:nvPr userDrawn="1">
            <p:custDataLst>
              <p:tags r:id="rId1"/>
            </p:custDataLst>
            <p:extLst>
              <p:ext uri="{D42A27DB-BD31-4B8C-83A1-F6EECF244321}">
                <p14:modId xmlns:p14="http://schemas.microsoft.com/office/powerpoint/2010/main" val="4291572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DCCCC44-E061-41A1-984A-C2CADA7099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reeform 13">
            <a:extLst>
              <a:ext uri="{FF2B5EF4-FFF2-40B4-BE49-F238E27FC236}">
                <a16:creationId xmlns:a16="http://schemas.microsoft.com/office/drawing/2014/main" id="{ABF7B0A2-A7F9-494E-B31A-F60B8DD5B1E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0" name="Tijdelijke aanduiding voor afbeelding 9">
            <a:extLst>
              <a:ext uri="{FF2B5EF4-FFF2-40B4-BE49-F238E27FC236}">
                <a16:creationId xmlns:a16="http://schemas.microsoft.com/office/drawing/2014/main" id="{B35ADB30-8D3F-46F7-ACAE-3E6E4B7DCDD1}"/>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256199 h 6858000"/>
              <a:gd name="connsiteX3" fmla="*/ 10909956 w 12192000"/>
              <a:gd name="connsiteY3" fmla="*/ 6253810 h 6858000"/>
              <a:gd name="connsiteX4" fmla="*/ 10525907 w 12192000"/>
              <a:gd name="connsiteY4" fmla="*/ 6858000 h 6858000"/>
              <a:gd name="connsiteX5" fmla="*/ 0 w 12192000"/>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0" y="0"/>
                </a:moveTo>
                <a:lnTo>
                  <a:pt x="12192000" y="0"/>
                </a:lnTo>
                <a:lnTo>
                  <a:pt x="12192000" y="6256199"/>
                </a:lnTo>
                <a:lnTo>
                  <a:pt x="10909956" y="6253810"/>
                </a:lnTo>
                <a:lnTo>
                  <a:pt x="10525907" y="6858000"/>
                </a:lnTo>
                <a:lnTo>
                  <a:pt x="0" y="6858000"/>
                </a:lnTo>
                <a:close/>
              </a:path>
            </a:pathLst>
          </a:custGeom>
          <a:pattFill prst="ltUpDiag">
            <a:fgClr>
              <a:schemeClr val="accent5"/>
            </a:fgClr>
            <a:bgClr>
              <a:schemeClr val="bg1"/>
            </a:bgClr>
          </a:pattFill>
        </p:spPr>
        <p:txBody>
          <a:bodyPr wrap="square">
            <a:noAutofit/>
          </a:bodyPr>
          <a:lstStyle>
            <a:lvl1pPr marL="171450" indent="-171450" algn="ctr" defTabSz="685800" rtl="0" eaLnBrk="1" latinLnBrk="0" hangingPunct="1">
              <a:lnSpc>
                <a:spcPct val="100000"/>
              </a:lnSpc>
              <a:spcBef>
                <a:spcPts val="0"/>
              </a:spcBef>
              <a:buFont typeface="Arial" panose="020B0604020202020204" pitchFamily="34" charset="0"/>
              <a:buNone/>
              <a:defRPr lang="nl-NL" sz="1350" b="0" kern="1200" dirty="0" smtClean="0">
                <a:solidFill>
                  <a:schemeClr val="tx1"/>
                </a:solidFill>
                <a:latin typeface="+mn-lt"/>
                <a:ea typeface="+mn-ea"/>
                <a:cs typeface="+mn-cs"/>
              </a:defRPr>
            </a:lvl1pPr>
          </a:lstStyle>
          <a:p>
            <a:pPr marL="171450" lvl="0" indent="-171450" algn="ctr" defTabSz="685800" rtl="0" eaLnBrk="1" latinLnBrk="0" hangingPunct="1">
              <a:lnSpc>
                <a:spcPct val="100000"/>
              </a:lnSpc>
              <a:spcBef>
                <a:spcPts val="0"/>
              </a:spcBef>
              <a:buFont typeface="Arial" panose="020B0604020202020204" pitchFamily="34" charset="0"/>
              <a:buNone/>
            </a:pPr>
            <a:r>
              <a:rPr lang="nl-NL" noProof="0"/>
              <a:t>Klik op het pictogram om een afbeelding in te voegen 
</a:t>
            </a:r>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rtl="0">
              <a:defRPr sz="2800" b="1">
                <a:solidFill>
                  <a:schemeClr val="accent1"/>
                </a:solidFill>
              </a:defRPr>
            </a:lvl1pPr>
          </a:lstStyle>
          <a:p>
            <a:r>
              <a:rPr lang="nl-NL" noProof="0"/>
              <a:t>Titel
</a:t>
            </a:r>
          </a:p>
        </p:txBody>
      </p:sp>
    </p:spTree>
    <p:extLst>
      <p:ext uri="{BB962C8B-B14F-4D97-AF65-F5344CB8AC3E}">
        <p14:creationId xmlns:p14="http://schemas.microsoft.com/office/powerpoint/2010/main" val="3036247042"/>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 &amp; im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D42D8C-433E-40E8-8CF5-53D281F264D1}"/>
              </a:ext>
            </a:extLst>
          </p:cNvPr>
          <p:cNvGraphicFramePr>
            <a:graphicFrameLocks noChangeAspect="1"/>
          </p:cNvGraphicFramePr>
          <p:nvPr userDrawn="1">
            <p:custDataLst>
              <p:tags r:id="rId1"/>
            </p:custDataLst>
            <p:extLst>
              <p:ext uri="{D42A27DB-BD31-4B8C-83A1-F6EECF244321}">
                <p14:modId xmlns:p14="http://schemas.microsoft.com/office/powerpoint/2010/main" val="341066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6D42D8C-433E-40E8-8CF5-53D281F264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
            <a:extLst>
              <a:ext uri="{FF2B5EF4-FFF2-40B4-BE49-F238E27FC236}">
                <a16:creationId xmlns:a16="http://schemas.microsoft.com/office/drawing/2014/main" id="{93DAC04A-E36A-481F-9DEE-32C71030BF54}"/>
              </a:ext>
            </a:extLst>
          </p:cNvPr>
          <p:cNvSpPr/>
          <p:nvPr userDrawn="1"/>
        </p:nvSpPr>
        <p:spPr>
          <a:xfrm>
            <a:off x="5951539" y="0"/>
            <a:ext cx="624046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5" name="Freeform 13">
            <a:extLst>
              <a:ext uri="{FF2B5EF4-FFF2-40B4-BE49-F238E27FC236}">
                <a16:creationId xmlns:a16="http://schemas.microsoft.com/office/drawing/2014/main" id="{3E9546D4-32C9-49C3-BED5-28D320FFD9B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77628" cy="601788"/>
          </a:xfrm>
          <a:prstGeom prst="rect">
            <a:avLst/>
          </a:prstGeom>
        </p:spPr>
        <p:txBody>
          <a:bodyPr vert="horz" lIns="0"/>
          <a:lstStyle>
            <a:lvl1pPr rtl="0">
              <a:defRPr sz="2800" b="1">
                <a:solidFill>
                  <a:schemeClr val="accent1"/>
                </a:solidFill>
              </a:defRPr>
            </a:lvl1pPr>
          </a:lstStyle>
          <a:p>
            <a:r>
              <a:rPr lang="nl-NL" noProof="0"/>
              <a:t>Titel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5030788"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2" name="Text Placeholder 4">
            <a:extLst>
              <a:ext uri="{FF2B5EF4-FFF2-40B4-BE49-F238E27FC236}">
                <a16:creationId xmlns:a16="http://schemas.microsoft.com/office/drawing/2014/main" id="{B307918D-46C3-48B8-8CDF-F888CE0A92F9}"/>
              </a:ext>
            </a:extLst>
          </p:cNvPr>
          <p:cNvSpPr>
            <a:spLocks noGrp="1"/>
          </p:cNvSpPr>
          <p:nvPr>
            <p:ph type="body" sz="quarter" idx="13" hasCustomPrompt="1"/>
          </p:nvPr>
        </p:nvSpPr>
        <p:spPr>
          <a:xfrm>
            <a:off x="6096000" y="6372956"/>
            <a:ext cx="4429125" cy="368300"/>
          </a:xfrm>
          <a:prstGeom prst="rect">
            <a:avLst/>
          </a:prstGeom>
        </p:spPr>
        <p:txBody>
          <a:bodyPr anchor="ctr" anchorCtr="0"/>
          <a:lstStyle>
            <a:lvl1pPr marL="0" indent="0" rtl="0">
              <a:buNone/>
              <a:defRPr sz="900" b="0">
                <a:solidFill>
                  <a:schemeClr val="tx1"/>
                </a:solidFill>
              </a:defRPr>
            </a:lvl1pPr>
            <a:lvl2pPr marL="342900" indent="0">
              <a:buNone/>
              <a:defRPr/>
            </a:lvl2pPr>
          </a:lstStyle>
          <a:p>
            <a:pPr lvl="0"/>
            <a:r>
              <a:rPr lang="nl-NL" noProof="0" dirty="0"/>
              <a:t>Vul hier een bijschrift in</a:t>
            </a:r>
          </a:p>
        </p:txBody>
      </p:sp>
      <p:sp>
        <p:nvSpPr>
          <p:cNvPr id="13" name="Rechthoek 6">
            <a:extLst>
              <a:ext uri="{FF2B5EF4-FFF2-40B4-BE49-F238E27FC236}">
                <a16:creationId xmlns:a16="http://schemas.microsoft.com/office/drawing/2014/main" id="{CE13FE91-E01D-49BE-92B9-44F5EB61DAE3}"/>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Tijdelijke aanduiding voor afbeelding 15">
            <a:extLst>
              <a:ext uri="{FF2B5EF4-FFF2-40B4-BE49-F238E27FC236}">
                <a16:creationId xmlns:a16="http://schemas.microsoft.com/office/drawing/2014/main" id="{2C502942-007F-42AA-A501-57138A68EE8F}"/>
              </a:ext>
            </a:extLst>
          </p:cNvPr>
          <p:cNvSpPr>
            <a:spLocks noGrp="1"/>
          </p:cNvSpPr>
          <p:nvPr>
            <p:ph type="pic" sz="quarter" idx="14" hasCustomPrompt="1"/>
          </p:nvPr>
        </p:nvSpPr>
        <p:spPr>
          <a:xfrm>
            <a:off x="5951538" y="0"/>
            <a:ext cx="6240462" cy="6256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een afbeelding in te voegen
</a:t>
            </a:r>
          </a:p>
        </p:txBody>
      </p:sp>
    </p:spTree>
    <p:extLst>
      <p:ext uri="{BB962C8B-B14F-4D97-AF65-F5344CB8AC3E}">
        <p14:creationId xmlns:p14="http://schemas.microsoft.com/office/powerpoint/2010/main" val="89346634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 photo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D740A68-F92A-46DC-B1A3-797A53D8FE0B}"/>
              </a:ext>
            </a:extLst>
          </p:cNvPr>
          <p:cNvGraphicFramePr>
            <a:graphicFrameLocks noChangeAspect="1"/>
          </p:cNvGraphicFramePr>
          <p:nvPr userDrawn="1">
            <p:custDataLst>
              <p:tags r:id="rId1"/>
            </p:custDataLst>
            <p:extLst>
              <p:ext uri="{D42A27DB-BD31-4B8C-83A1-F6EECF244321}">
                <p14:modId xmlns:p14="http://schemas.microsoft.com/office/powerpoint/2010/main" val="1189564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D740A68-F92A-46DC-B1A3-797A53D8FE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
            <a:extLst>
              <a:ext uri="{FF2B5EF4-FFF2-40B4-BE49-F238E27FC236}">
                <a16:creationId xmlns:a16="http://schemas.microsoft.com/office/drawing/2014/main" id="{93DAC04A-E36A-481F-9DEE-32C71030BF54}"/>
              </a:ext>
            </a:extLst>
          </p:cNvPr>
          <p:cNvSpPr/>
          <p:nvPr userDrawn="1"/>
        </p:nvSpPr>
        <p:spPr>
          <a:xfrm>
            <a:off x="5951539" y="0"/>
            <a:ext cx="624046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0" name="Freeform 13">
            <a:extLst>
              <a:ext uri="{FF2B5EF4-FFF2-40B4-BE49-F238E27FC236}">
                <a16:creationId xmlns:a16="http://schemas.microsoft.com/office/drawing/2014/main" id="{DF91A949-CD6E-48A1-BAEA-01FC493920E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16386"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5040312"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2" name="Text Placeholder 4">
            <a:extLst>
              <a:ext uri="{FF2B5EF4-FFF2-40B4-BE49-F238E27FC236}">
                <a16:creationId xmlns:a16="http://schemas.microsoft.com/office/drawing/2014/main" id="{B307918D-46C3-48B8-8CDF-F888CE0A92F9}"/>
              </a:ext>
            </a:extLst>
          </p:cNvPr>
          <p:cNvSpPr>
            <a:spLocks noGrp="1"/>
          </p:cNvSpPr>
          <p:nvPr>
            <p:ph type="body" sz="quarter" idx="13" hasCustomPrompt="1"/>
          </p:nvPr>
        </p:nvSpPr>
        <p:spPr>
          <a:xfrm>
            <a:off x="6096000" y="6372956"/>
            <a:ext cx="4429125" cy="368300"/>
          </a:xfrm>
          <a:prstGeom prst="rect">
            <a:avLst/>
          </a:prstGeom>
        </p:spPr>
        <p:txBody>
          <a:bodyPr anchor="ctr" anchorCtr="0"/>
          <a:lstStyle>
            <a:lvl1pPr marL="0" indent="0" rtl="0">
              <a:buNone/>
              <a:defRPr sz="900" b="0">
                <a:solidFill>
                  <a:schemeClr val="tx1"/>
                </a:solidFill>
              </a:defRPr>
            </a:lvl1pPr>
            <a:lvl2pPr marL="342900" indent="0">
              <a:buNone/>
              <a:defRPr/>
            </a:lvl2pPr>
          </a:lstStyle>
          <a:p>
            <a:pPr lvl="0"/>
            <a:r>
              <a:rPr lang="nl-NL" noProof="0" dirty="0"/>
              <a:t>Vul hier een bijschrift in</a:t>
            </a:r>
          </a:p>
        </p:txBody>
      </p:sp>
      <p:sp>
        <p:nvSpPr>
          <p:cNvPr id="13" name="Rechthoek 6">
            <a:extLst>
              <a:ext uri="{FF2B5EF4-FFF2-40B4-BE49-F238E27FC236}">
                <a16:creationId xmlns:a16="http://schemas.microsoft.com/office/drawing/2014/main" id="{CE13FE91-E01D-49BE-92B9-44F5EB61DAE3}"/>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Tijdelijke aanduiding voor afbeelding 15">
            <a:extLst>
              <a:ext uri="{FF2B5EF4-FFF2-40B4-BE49-F238E27FC236}">
                <a16:creationId xmlns:a16="http://schemas.microsoft.com/office/drawing/2014/main" id="{2C502942-007F-42AA-A501-57138A68EE8F}"/>
              </a:ext>
            </a:extLst>
          </p:cNvPr>
          <p:cNvSpPr>
            <a:spLocks noGrp="1"/>
          </p:cNvSpPr>
          <p:nvPr>
            <p:ph type="pic" sz="quarter" idx="14" hasCustomPrompt="1"/>
          </p:nvPr>
        </p:nvSpPr>
        <p:spPr>
          <a:xfrm>
            <a:off x="9144000" y="3429000"/>
            <a:ext cx="3048000" cy="2827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
</a:t>
            </a:r>
          </a:p>
        </p:txBody>
      </p:sp>
      <p:sp>
        <p:nvSpPr>
          <p:cNvPr id="15" name="Tijdelijke aanduiding voor afbeelding 15">
            <a:extLst>
              <a:ext uri="{FF2B5EF4-FFF2-40B4-BE49-F238E27FC236}">
                <a16:creationId xmlns:a16="http://schemas.microsoft.com/office/drawing/2014/main" id="{6FECD62A-9168-46F4-A58B-55FFB7C15104}"/>
              </a:ext>
            </a:extLst>
          </p:cNvPr>
          <p:cNvSpPr>
            <a:spLocks noGrp="1"/>
          </p:cNvSpPr>
          <p:nvPr>
            <p:ph type="pic" sz="quarter" idx="15" hasCustomPrompt="1"/>
          </p:nvPr>
        </p:nvSpPr>
        <p:spPr>
          <a:xfrm>
            <a:off x="5951538" y="3429000"/>
            <a:ext cx="3192462" cy="2827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
</a:t>
            </a:r>
          </a:p>
        </p:txBody>
      </p:sp>
      <p:sp>
        <p:nvSpPr>
          <p:cNvPr id="17" name="Tijdelijke aanduiding voor afbeelding 15">
            <a:extLst>
              <a:ext uri="{FF2B5EF4-FFF2-40B4-BE49-F238E27FC236}">
                <a16:creationId xmlns:a16="http://schemas.microsoft.com/office/drawing/2014/main" id="{71E06B05-8025-4E8D-852B-CD13D3ACD214}"/>
              </a:ext>
            </a:extLst>
          </p:cNvPr>
          <p:cNvSpPr>
            <a:spLocks noGrp="1"/>
          </p:cNvSpPr>
          <p:nvPr>
            <p:ph type="pic" sz="quarter" idx="16" hasCustomPrompt="1"/>
          </p:nvPr>
        </p:nvSpPr>
        <p:spPr>
          <a:xfrm>
            <a:off x="5951539" y="0"/>
            <a:ext cx="6240460" cy="3428996"/>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a:t>
            </a:r>
            <a:r>
              <a:rPr lang="en-GB" noProof="0" dirty="0"/>
              <a:t>
</a:t>
            </a:r>
          </a:p>
        </p:txBody>
      </p:sp>
    </p:spTree>
    <p:extLst>
      <p:ext uri="{BB962C8B-B14F-4D97-AF65-F5344CB8AC3E}">
        <p14:creationId xmlns:p14="http://schemas.microsoft.com/office/powerpoint/2010/main" val="3987998988"/>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5760" userDrawn="1">
          <p15:clr>
            <a:srgbClr val="FBAE40"/>
          </p15:clr>
        </p15:guide>
        <p15:guide id="4" orient="horz" pos="3929" userDrawn="1">
          <p15:clr>
            <a:srgbClr val="FBAE40"/>
          </p15:clr>
        </p15:guide>
        <p15:guide id="5" pos="3840" userDrawn="1">
          <p15:clr>
            <a:srgbClr val="FBAE40"/>
          </p15:clr>
        </p15:guide>
        <p15:guide id="6" orient="horz" pos="216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ullet split - gree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F3565DE-939A-49AB-AA1A-A5B02FB3B7C5}"/>
              </a:ext>
            </a:extLst>
          </p:cNvPr>
          <p:cNvGraphicFramePr>
            <a:graphicFrameLocks noChangeAspect="1"/>
          </p:cNvGraphicFramePr>
          <p:nvPr userDrawn="1">
            <p:custDataLst>
              <p:tags r:id="rId1"/>
            </p:custDataLst>
            <p:extLst>
              <p:ext uri="{D42A27DB-BD31-4B8C-83A1-F6EECF244321}">
                <p14:modId xmlns:p14="http://schemas.microsoft.com/office/powerpoint/2010/main" val="3927182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9F3565DE-939A-49AB-AA1A-A5B02FB3B7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11" name="Freeform 13">
            <a:extLst>
              <a:ext uri="{FF2B5EF4-FFF2-40B4-BE49-F238E27FC236}">
                <a16:creationId xmlns:a16="http://schemas.microsoft.com/office/drawing/2014/main" id="{C26A165B-CD53-47C3-8E9B-68311AFA992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25912" cy="601788"/>
          </a:xfrm>
          <a:prstGeom prst="rect">
            <a:avLst/>
          </a:prstGeom>
        </p:spPr>
        <p:txBody>
          <a:bodyPr vert="horz" lIns="0" r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1999"/>
            <a:ext cx="5077628" cy="4995283"/>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6096000" y="1825200"/>
            <a:ext cx="4430184"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6096000" y="1241999"/>
            <a:ext cx="4430184" cy="582613"/>
          </a:xfrm>
          <a:prstGeom prst="rect">
            <a:avLst/>
          </a:prstGeom>
        </p:spPr>
        <p:txBody>
          <a:bodyPr lIns="90000"/>
          <a:lstStyle>
            <a:lvl1pPr>
              <a:defRPr sz="1600"/>
            </a:lvl1pPr>
            <a:lvl2pPr>
              <a:defRPr sz="1200" b="0">
                <a:solidFill>
                  <a:schemeClr val="accent6"/>
                </a:solidFill>
              </a:defRPr>
            </a:lvl2pPr>
          </a:lstStyle>
          <a:p>
            <a:pPr lvl="0"/>
            <a:r>
              <a:rPr lang="nl-NL" noProof="0" dirty="0"/>
              <a:t>Titel</a:t>
            </a:r>
          </a:p>
          <a:p>
            <a:pPr lvl="1"/>
            <a:r>
              <a:rPr lang="nl-NL" noProof="0" dirty="0"/>
              <a:t>Notatie
</a:t>
            </a:r>
          </a:p>
        </p:txBody>
      </p:sp>
      <p:sp>
        <p:nvSpPr>
          <p:cNvPr id="12" name="Vrije vorm: vorm 11">
            <a:extLst>
              <a:ext uri="{FF2B5EF4-FFF2-40B4-BE49-F238E27FC236}">
                <a16:creationId xmlns:a16="http://schemas.microsoft.com/office/drawing/2014/main" id="{B2864AB1-9C58-4293-93C7-C2B1FA839AE0}"/>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673148503"/>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cenari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84CC593-FA95-46AF-A71D-BC9B0B6DA2D8}"/>
              </a:ext>
            </a:extLst>
          </p:cNvPr>
          <p:cNvGraphicFramePr>
            <a:graphicFrameLocks noChangeAspect="1"/>
          </p:cNvGraphicFramePr>
          <p:nvPr userDrawn="1">
            <p:custDataLst>
              <p:tags r:id="rId1"/>
            </p:custDataLst>
            <p:extLst>
              <p:ext uri="{D42A27DB-BD31-4B8C-83A1-F6EECF244321}">
                <p14:modId xmlns:p14="http://schemas.microsoft.com/office/powerpoint/2010/main" val="3423649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84CC593-FA95-46AF-A71D-BC9B0B6DA2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25" name="Freeform 13">
            <a:extLst>
              <a:ext uri="{FF2B5EF4-FFF2-40B4-BE49-F238E27FC236}">
                <a16:creationId xmlns:a16="http://schemas.microsoft.com/office/drawing/2014/main" id="{5A85FA0D-F797-4B60-B9A3-DD3DB3ED2BAC}"/>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25912"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200"/>
            <a:ext cx="5025912"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6096000" y="1242000"/>
            <a:ext cx="4430184" cy="582613"/>
          </a:xfrm>
          <a:prstGeom prst="rect">
            <a:avLst/>
          </a:prstGeom>
        </p:spPr>
        <p:txBody>
          <a:bodyPr lIns="9000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1" name="Tijdelijke aanduiding voor afbeelding 12">
            <a:extLst>
              <a:ext uri="{FF2B5EF4-FFF2-40B4-BE49-F238E27FC236}">
                <a16:creationId xmlns:a16="http://schemas.microsoft.com/office/drawing/2014/main" id="{0386E4FE-26BD-4E84-BC4E-72E5927F07B0}"/>
              </a:ext>
            </a:extLst>
          </p:cNvPr>
          <p:cNvSpPr>
            <a:spLocks noGrp="1"/>
          </p:cNvSpPr>
          <p:nvPr>
            <p:ph type="pic" sz="quarter" idx="14" hasCustomPrompt="1"/>
          </p:nvPr>
        </p:nvSpPr>
        <p:spPr>
          <a:xfrm>
            <a:off x="6211712"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2" name="Tijdelijke aanduiding voor afbeelding 12">
            <a:extLst>
              <a:ext uri="{FF2B5EF4-FFF2-40B4-BE49-F238E27FC236}">
                <a16:creationId xmlns:a16="http://schemas.microsoft.com/office/drawing/2014/main" id="{745C78AD-D7E5-4344-A34A-5E951E43412E}"/>
              </a:ext>
            </a:extLst>
          </p:cNvPr>
          <p:cNvSpPr>
            <a:spLocks noGrp="1"/>
          </p:cNvSpPr>
          <p:nvPr>
            <p:ph type="pic" sz="quarter" idx="15" hasCustomPrompt="1"/>
          </p:nvPr>
        </p:nvSpPr>
        <p:spPr>
          <a:xfrm>
            <a:off x="7711521"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3" name="Tijdelijke aanduiding voor afbeelding 12">
            <a:extLst>
              <a:ext uri="{FF2B5EF4-FFF2-40B4-BE49-F238E27FC236}">
                <a16:creationId xmlns:a16="http://schemas.microsoft.com/office/drawing/2014/main" id="{923B5C63-FD90-40F5-9E01-C1D303D1EFEC}"/>
              </a:ext>
            </a:extLst>
          </p:cNvPr>
          <p:cNvSpPr>
            <a:spLocks noGrp="1"/>
          </p:cNvSpPr>
          <p:nvPr>
            <p:ph type="pic" sz="quarter" idx="16" hasCustomPrompt="1"/>
          </p:nvPr>
        </p:nvSpPr>
        <p:spPr>
          <a:xfrm>
            <a:off x="9211331"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4" name="Tijdelijke aanduiding voor afbeelding 12">
            <a:extLst>
              <a:ext uri="{FF2B5EF4-FFF2-40B4-BE49-F238E27FC236}">
                <a16:creationId xmlns:a16="http://schemas.microsoft.com/office/drawing/2014/main" id="{0676AE98-560E-4CE0-875E-70EE80498F7E}"/>
              </a:ext>
            </a:extLst>
          </p:cNvPr>
          <p:cNvSpPr>
            <a:spLocks noGrp="1"/>
          </p:cNvSpPr>
          <p:nvPr>
            <p:ph type="pic" sz="quarter" idx="17" hasCustomPrompt="1"/>
          </p:nvPr>
        </p:nvSpPr>
        <p:spPr>
          <a:xfrm>
            <a:off x="6888440" y="39052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6" name="Tijdelijke aanduiding voor afbeelding 12">
            <a:extLst>
              <a:ext uri="{FF2B5EF4-FFF2-40B4-BE49-F238E27FC236}">
                <a16:creationId xmlns:a16="http://schemas.microsoft.com/office/drawing/2014/main" id="{96E151C5-C073-46DB-9771-F71A1D9EB007}"/>
              </a:ext>
            </a:extLst>
          </p:cNvPr>
          <p:cNvSpPr>
            <a:spLocks noGrp="1"/>
          </p:cNvSpPr>
          <p:nvPr>
            <p:ph type="pic" sz="quarter" idx="18" hasCustomPrompt="1"/>
          </p:nvPr>
        </p:nvSpPr>
        <p:spPr>
          <a:xfrm>
            <a:off x="8388247" y="39052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7" name="Tijdelijke aanduiding voor tekst 21">
            <a:extLst>
              <a:ext uri="{FF2B5EF4-FFF2-40B4-BE49-F238E27FC236}">
                <a16:creationId xmlns:a16="http://schemas.microsoft.com/office/drawing/2014/main" id="{82B22842-D38D-47E3-BE3E-B55AF299DFB5}"/>
              </a:ext>
            </a:extLst>
          </p:cNvPr>
          <p:cNvSpPr>
            <a:spLocks noGrp="1"/>
          </p:cNvSpPr>
          <p:nvPr>
            <p:ph type="body" sz="quarter" idx="19" hasCustomPrompt="1"/>
          </p:nvPr>
        </p:nvSpPr>
        <p:spPr>
          <a:xfrm>
            <a:off x="6211712" y="3465973"/>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18" name="Tijdelijke aanduiding voor tekst 21">
            <a:extLst>
              <a:ext uri="{FF2B5EF4-FFF2-40B4-BE49-F238E27FC236}">
                <a16:creationId xmlns:a16="http://schemas.microsoft.com/office/drawing/2014/main" id="{D3AC0486-2D19-462C-90B0-E5126952A61C}"/>
              </a:ext>
            </a:extLst>
          </p:cNvPr>
          <p:cNvSpPr>
            <a:spLocks noGrp="1"/>
          </p:cNvSpPr>
          <p:nvPr>
            <p:ph type="body" sz="quarter" idx="20" hasCustomPrompt="1"/>
          </p:nvPr>
        </p:nvSpPr>
        <p:spPr>
          <a:xfrm>
            <a:off x="7711521" y="3465973"/>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19" name="Tijdelijke aanduiding voor tekst 21">
            <a:extLst>
              <a:ext uri="{FF2B5EF4-FFF2-40B4-BE49-F238E27FC236}">
                <a16:creationId xmlns:a16="http://schemas.microsoft.com/office/drawing/2014/main" id="{D73A32CE-9E95-46BB-88C1-BE2ED62CBBE3}"/>
              </a:ext>
            </a:extLst>
          </p:cNvPr>
          <p:cNvSpPr>
            <a:spLocks noGrp="1"/>
          </p:cNvSpPr>
          <p:nvPr>
            <p:ph type="body" sz="quarter" idx="21" hasCustomPrompt="1"/>
          </p:nvPr>
        </p:nvSpPr>
        <p:spPr>
          <a:xfrm>
            <a:off x="9211331" y="34659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0" name="Tijdelijke aanduiding voor tekst 21">
            <a:extLst>
              <a:ext uri="{FF2B5EF4-FFF2-40B4-BE49-F238E27FC236}">
                <a16:creationId xmlns:a16="http://schemas.microsoft.com/office/drawing/2014/main" id="{7F4F5C41-7FE5-4A6D-8C37-55760DBFA3AA}"/>
              </a:ext>
            </a:extLst>
          </p:cNvPr>
          <p:cNvSpPr>
            <a:spLocks noGrp="1"/>
          </p:cNvSpPr>
          <p:nvPr>
            <p:ph type="body" sz="quarter" idx="22" hasCustomPrompt="1"/>
          </p:nvPr>
        </p:nvSpPr>
        <p:spPr>
          <a:xfrm>
            <a:off x="6888440" y="48375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1" name="Tijdelijke aanduiding voor tekst 21">
            <a:extLst>
              <a:ext uri="{FF2B5EF4-FFF2-40B4-BE49-F238E27FC236}">
                <a16:creationId xmlns:a16="http://schemas.microsoft.com/office/drawing/2014/main" id="{49B4C73A-2A39-495E-8BBA-2C994D7A5024}"/>
              </a:ext>
            </a:extLst>
          </p:cNvPr>
          <p:cNvSpPr>
            <a:spLocks noGrp="1"/>
          </p:cNvSpPr>
          <p:nvPr>
            <p:ph type="body" sz="quarter" idx="23" hasCustomPrompt="1"/>
          </p:nvPr>
        </p:nvSpPr>
        <p:spPr>
          <a:xfrm>
            <a:off x="8388247" y="48375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4" name="Tijdelijke aanduiding voor tekst 7">
            <a:extLst>
              <a:ext uri="{FF2B5EF4-FFF2-40B4-BE49-F238E27FC236}">
                <a16:creationId xmlns:a16="http://schemas.microsoft.com/office/drawing/2014/main" id="{84CC5CEE-15A7-41E4-A0F8-278C542585AF}"/>
              </a:ext>
            </a:extLst>
          </p:cNvPr>
          <p:cNvSpPr>
            <a:spLocks noGrp="1"/>
          </p:cNvSpPr>
          <p:nvPr>
            <p:ph type="body" sz="quarter" idx="24" hasCustomPrompt="1"/>
          </p:nvPr>
        </p:nvSpPr>
        <p:spPr>
          <a:xfrm>
            <a:off x="1055688" y="1242000"/>
            <a:ext cx="502591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23" name="Vrije vorm: vorm 22">
            <a:extLst>
              <a:ext uri="{FF2B5EF4-FFF2-40B4-BE49-F238E27FC236}">
                <a16:creationId xmlns:a16="http://schemas.microsoft.com/office/drawing/2014/main" id="{576D7B78-B516-43FE-B356-43F202CC16EC}"/>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88982630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ullet split - green r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C8989A-2CCD-428B-B391-3F55ADADEB4A}"/>
              </a:ext>
            </a:extLst>
          </p:cNvPr>
          <p:cNvGraphicFramePr>
            <a:graphicFrameLocks noChangeAspect="1"/>
          </p:cNvGraphicFramePr>
          <p:nvPr userDrawn="1">
            <p:custDataLst>
              <p:tags r:id="rId1"/>
            </p:custDataLst>
            <p:extLst>
              <p:ext uri="{D42A27DB-BD31-4B8C-83A1-F6EECF244321}">
                <p14:modId xmlns:p14="http://schemas.microsoft.com/office/powerpoint/2010/main" val="1000617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F3C8989A-2CCD-428B-B391-3F55ADADEB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11" name="Freeform 13">
            <a:extLst>
              <a:ext uri="{FF2B5EF4-FFF2-40B4-BE49-F238E27FC236}">
                <a16:creationId xmlns:a16="http://schemas.microsoft.com/office/drawing/2014/main" id="{D125CF1D-9849-4510-9A3A-B85F4127307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4716463" cy="601788"/>
          </a:xfrm>
          <a:prstGeom prst="rect">
            <a:avLst/>
          </a:prstGeom>
        </p:spPr>
        <p:txBody>
          <a:bodyPr vert="horz" lIns="0"/>
          <a:lstStyle>
            <a:lvl1pPr rtl="0">
              <a:defRPr sz="2800" b="1">
                <a:solidFill>
                  <a:schemeClr val="accent1"/>
                </a:solidFill>
              </a:defRPr>
            </a:lvl1pPr>
          </a:lstStyle>
          <a:p>
            <a:r>
              <a:rPr lang="nl-NL" noProof="0" dirty="0"/>
              <a:t>Titel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6096001" y="1241999"/>
            <a:ext cx="4430184" cy="4995283"/>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1055689" y="1825200"/>
            <a:ext cx="4716462"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1055688" y="1242000"/>
            <a:ext cx="502591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3" name="Vrije vorm: vorm 12">
            <a:extLst>
              <a:ext uri="{FF2B5EF4-FFF2-40B4-BE49-F238E27FC236}">
                <a16:creationId xmlns:a16="http://schemas.microsoft.com/office/drawing/2014/main" id="{8363B73B-DD18-4970-8A93-11B7E2A0A2E0}"/>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47830149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mp; char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1C87287-C2E8-4C34-89BE-3D5BB17E26FF}"/>
              </a:ext>
            </a:extLst>
          </p:cNvPr>
          <p:cNvGraphicFramePr>
            <a:graphicFrameLocks noChangeAspect="1"/>
          </p:cNvGraphicFramePr>
          <p:nvPr userDrawn="1">
            <p:custDataLst>
              <p:tags r:id="rId1"/>
            </p:custDataLst>
            <p:extLst>
              <p:ext uri="{D42A27DB-BD31-4B8C-83A1-F6EECF244321}">
                <p14:modId xmlns:p14="http://schemas.microsoft.com/office/powerpoint/2010/main" val="4170497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1C87287-C2E8-4C34-89BE-3D5BB17E26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1D2E19B5-82EC-41EB-8E7B-06C8498DCE58}"/>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471025"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9" y="1241999"/>
            <a:ext cx="4716461" cy="4995283"/>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825200"/>
            <a:ext cx="4574646" cy="4412082"/>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5951538" y="1241999"/>
            <a:ext cx="4574646"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466899696"/>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mpty ">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786FBD-871F-4F5C-85B6-99A712FE9D6F}"/>
              </a:ext>
            </a:extLst>
          </p:cNvPr>
          <p:cNvGraphicFramePr>
            <a:graphicFrameLocks noChangeAspect="1"/>
          </p:cNvGraphicFramePr>
          <p:nvPr userDrawn="1">
            <p:custDataLst>
              <p:tags r:id="rId1"/>
            </p:custDataLst>
            <p:extLst>
              <p:ext uri="{D42A27DB-BD31-4B8C-83A1-F6EECF244321}">
                <p14:modId xmlns:p14="http://schemas.microsoft.com/office/powerpoint/2010/main" val="2637885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60786FBD-871F-4F5C-85B6-99A712FE9D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1B157B27-A8D6-4A30-BE71-FFC42122CE5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tIns="46800"/>
          <a:lstStyle>
            <a:lvl1pPr rtl="0">
              <a:defRPr sz="2800" b="1">
                <a:solidFill>
                  <a:schemeClr val="accent1"/>
                </a:solidFill>
              </a:defRPr>
            </a:lvl1pPr>
          </a:lstStyle>
          <a:p>
            <a:r>
              <a:rPr lang="nl-NL" noProof="0" dirty="0"/>
              <a:t>Titel</a:t>
            </a:r>
          </a:p>
        </p:txBody>
      </p:sp>
    </p:spTree>
    <p:extLst>
      <p:ext uri="{BB962C8B-B14F-4D97-AF65-F5344CB8AC3E}">
        <p14:creationId xmlns:p14="http://schemas.microsoft.com/office/powerpoint/2010/main" val="276840965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0" userDrawn="1">
          <p15:clr>
            <a:srgbClr val="FBAE40"/>
          </p15:clr>
        </p15:guide>
        <p15:guide id="4" orient="horz" pos="3929" userDrawn="1">
          <p15:clr>
            <a:srgbClr val="FBAE40"/>
          </p15:clr>
        </p15:guide>
        <p15:guide id="5" orient="horz" pos="473"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amp; chart lef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7B5B11-BE93-4024-99B6-ED4E079DA9AC}"/>
              </a:ext>
            </a:extLst>
          </p:cNvPr>
          <p:cNvGraphicFramePr>
            <a:graphicFrameLocks noChangeAspect="1"/>
          </p:cNvGraphicFramePr>
          <p:nvPr userDrawn="1">
            <p:custDataLst>
              <p:tags r:id="rId1"/>
            </p:custDataLst>
            <p:extLst>
              <p:ext uri="{D42A27DB-BD31-4B8C-83A1-F6EECF244321}">
                <p14:modId xmlns:p14="http://schemas.microsoft.com/office/powerpoint/2010/main" val="1567877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C87B5B11-BE93-4024-99B6-ED4E079DA9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6A1728F5-D029-4E6E-BF0D-34E81B70077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469437"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5951538" y="1241999"/>
            <a:ext cx="4574647" cy="4995283"/>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1055689" y="1825200"/>
            <a:ext cx="4716462"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1055688" y="1242000"/>
            <a:ext cx="471646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6419429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een backgrou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BF51586-3AEC-4582-927B-99AA6C790B57}"/>
              </a:ext>
            </a:extLst>
          </p:cNvPr>
          <p:cNvGraphicFramePr>
            <a:graphicFrameLocks noChangeAspect="1"/>
          </p:cNvGraphicFramePr>
          <p:nvPr userDrawn="1">
            <p:custDataLst>
              <p:tags r:id="rId1"/>
            </p:custDataLst>
            <p:extLst>
              <p:ext uri="{D42A27DB-BD31-4B8C-83A1-F6EECF244321}">
                <p14:modId xmlns:p14="http://schemas.microsoft.com/office/powerpoint/2010/main" val="739415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BF51586-3AEC-4582-927B-99AA6C790B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13">
            <a:extLst>
              <a:ext uri="{FF2B5EF4-FFF2-40B4-BE49-F238E27FC236}">
                <a16:creationId xmlns:a16="http://schemas.microsoft.com/office/drawing/2014/main" id="{8D34D08C-7F33-4B8E-9BC7-CD57271031C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9599885" cy="4502150"/>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level</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1408242877"/>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page">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E37AA34-C0DC-4C69-A1E9-F9BA0E518547}"/>
              </a:ext>
            </a:extLst>
          </p:cNvPr>
          <p:cNvGraphicFramePr>
            <a:graphicFrameLocks noChangeAspect="1"/>
          </p:cNvGraphicFramePr>
          <p:nvPr userDrawn="1">
            <p:custDataLst>
              <p:tags r:id="rId1"/>
            </p:custDataLst>
            <p:extLst>
              <p:ext uri="{D42A27DB-BD31-4B8C-83A1-F6EECF244321}">
                <p14:modId xmlns:p14="http://schemas.microsoft.com/office/powerpoint/2010/main" val="2394968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CE37AA34-C0DC-4C69-A1E9-F9BA0E5185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Shape 12">
            <a:extLst>
              <a:ext uri="{FF2B5EF4-FFF2-40B4-BE49-F238E27FC236}">
                <a16:creationId xmlns:a16="http://schemas.microsoft.com/office/drawing/2014/main" id="{A0695271-F570-409F-857A-DDA155205D71}"/>
              </a:ext>
            </a:extLst>
          </p:cNvPr>
          <p:cNvSpPr/>
          <p:nvPr userDrawn="1"/>
        </p:nvSpPr>
        <p:spPr>
          <a:xfrm>
            <a:off x="-9528" y="771412"/>
            <a:ext cx="12184856" cy="6095998"/>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 name="connsiteX0" fmla="*/ 0 w 12201525"/>
              <a:gd name="connsiteY0" fmla="*/ 0 h 5381237"/>
              <a:gd name="connsiteX1" fmla="*/ 12201525 w 12201525"/>
              <a:gd name="connsiteY1" fmla="*/ 5372319 h 5381237"/>
              <a:gd name="connsiteX2" fmla="*/ 0 w 12201525"/>
              <a:gd name="connsiteY2" fmla="*/ 5381237 h 5381237"/>
              <a:gd name="connsiteX3" fmla="*/ 0 w 12201525"/>
              <a:gd name="connsiteY3" fmla="*/ 0 h 5381237"/>
              <a:gd name="connsiteX0" fmla="*/ 0 w 12201525"/>
              <a:gd name="connsiteY0" fmla="*/ 0 h 5381237"/>
              <a:gd name="connsiteX1" fmla="*/ 11393177 w 12201525"/>
              <a:gd name="connsiteY1" fmla="*/ 5019039 h 5381237"/>
              <a:gd name="connsiteX2" fmla="*/ 12201525 w 12201525"/>
              <a:gd name="connsiteY2" fmla="*/ 5372319 h 5381237"/>
              <a:gd name="connsiteX3" fmla="*/ 0 w 12201525"/>
              <a:gd name="connsiteY3" fmla="*/ 5381237 h 5381237"/>
              <a:gd name="connsiteX4" fmla="*/ 0 w 12201525"/>
              <a:gd name="connsiteY4" fmla="*/ 0 h 5381237"/>
              <a:gd name="connsiteX0" fmla="*/ 0 w 12201525"/>
              <a:gd name="connsiteY0" fmla="*/ 0 h 5381237"/>
              <a:gd name="connsiteX1" fmla="*/ 11378870 w 12201525"/>
              <a:gd name="connsiteY1" fmla="*/ 5036287 h 5381237"/>
              <a:gd name="connsiteX2" fmla="*/ 12201525 w 12201525"/>
              <a:gd name="connsiteY2" fmla="*/ 5372319 h 5381237"/>
              <a:gd name="connsiteX3" fmla="*/ 0 w 12201525"/>
              <a:gd name="connsiteY3" fmla="*/ 5381237 h 5381237"/>
              <a:gd name="connsiteX4" fmla="*/ 0 w 12201525"/>
              <a:gd name="connsiteY4" fmla="*/ 0 h 5381237"/>
              <a:gd name="connsiteX0" fmla="*/ 0 w 12201525"/>
              <a:gd name="connsiteY0" fmla="*/ 0 h 5519217"/>
              <a:gd name="connsiteX1" fmla="*/ 11378870 w 12201525"/>
              <a:gd name="connsiteY1" fmla="*/ 5174267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407484 w 12201525"/>
              <a:gd name="connsiteY1" fmla="*/ 5174268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378870 w 12201525"/>
              <a:gd name="connsiteY1" fmla="*/ 5208764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483788 w 12201525"/>
              <a:gd name="connsiteY1" fmla="*/ 5200141 h 5519217"/>
              <a:gd name="connsiteX2" fmla="*/ 12201525 w 12201525"/>
              <a:gd name="connsiteY2" fmla="*/ 5510299 h 5519217"/>
              <a:gd name="connsiteX3" fmla="*/ 0 w 12201525"/>
              <a:gd name="connsiteY3" fmla="*/ 5519217 h 5519217"/>
              <a:gd name="connsiteX4" fmla="*/ 0 w 12201525"/>
              <a:gd name="connsiteY4" fmla="*/ 0 h 5519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1525" h="5519217">
                <a:moveTo>
                  <a:pt x="0" y="0"/>
                </a:moveTo>
                <a:lnTo>
                  <a:pt x="11483788" y="5200141"/>
                </a:lnTo>
                <a:lnTo>
                  <a:pt x="12201525" y="5510299"/>
                </a:lnTo>
                <a:lnTo>
                  <a:pt x="0" y="5519217"/>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1" y="-9525"/>
            <a:ext cx="12201526"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 name="connsiteX0" fmla="*/ 15875 w 12201525"/>
              <a:gd name="connsiteY0" fmla="*/ 701675 h 6862763"/>
              <a:gd name="connsiteX1" fmla="*/ 12196762 w 12201525"/>
              <a:gd name="connsiteY1" fmla="*/ 6862763 h 6862763"/>
              <a:gd name="connsiteX2" fmla="*/ 12201525 w 12201525"/>
              <a:gd name="connsiteY2" fmla="*/ 0 h 6862763"/>
              <a:gd name="connsiteX3" fmla="*/ 0 w 12201525"/>
              <a:gd name="connsiteY3" fmla="*/ 0 h 6862763"/>
              <a:gd name="connsiteX4" fmla="*/ 15875 w 12201525"/>
              <a:gd name="connsiteY4" fmla="*/ 701675 h 6862763"/>
              <a:gd name="connsiteX0" fmla="*/ 28575 w 12201525"/>
              <a:gd name="connsiteY0" fmla="*/ 625475 h 6862763"/>
              <a:gd name="connsiteX1" fmla="*/ 12196762 w 12201525"/>
              <a:gd name="connsiteY1" fmla="*/ 6862763 h 6862763"/>
              <a:gd name="connsiteX2" fmla="*/ 12201525 w 12201525"/>
              <a:gd name="connsiteY2" fmla="*/ 0 h 6862763"/>
              <a:gd name="connsiteX3" fmla="*/ 0 w 12201525"/>
              <a:gd name="connsiteY3" fmla="*/ 0 h 6862763"/>
              <a:gd name="connsiteX4" fmla="*/ 28575 w 12201525"/>
              <a:gd name="connsiteY4" fmla="*/ 6254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1525" h="6862763">
                <a:moveTo>
                  <a:pt x="28575" y="625475"/>
                </a:moveTo>
                <a:cubicBezTo>
                  <a:pt x="4097337" y="2395538"/>
                  <a:pt x="8128000" y="5092700"/>
                  <a:pt x="12196762" y="6862763"/>
                </a:cubicBezTo>
                <a:cubicBezTo>
                  <a:pt x="12198350" y="4575175"/>
                  <a:pt x="12199937" y="2287588"/>
                  <a:pt x="12201525" y="0"/>
                </a:cubicBezTo>
                <a:lnTo>
                  <a:pt x="0" y="0"/>
                </a:lnTo>
                <a:cubicBezTo>
                  <a:pt x="1058" y="305858"/>
                  <a:pt x="27517" y="319617"/>
                  <a:pt x="28575" y="625475"/>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48711" y="3143393"/>
            <a:ext cx="285416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55965 w 2873217"/>
              <a:gd name="connsiteY2" fmla="*/ 3622532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17865 w 2873217"/>
              <a:gd name="connsiteY2" fmla="*/ 363205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2628 w 2873217"/>
              <a:gd name="connsiteY2" fmla="*/ 3608244 h 3714150"/>
              <a:gd name="connsiteX3" fmla="*/ 0 w 2873217"/>
              <a:gd name="connsiteY3" fmla="*/ 2357001 h 3714150"/>
              <a:gd name="connsiteX4" fmla="*/ 2872606 w 2873217"/>
              <a:gd name="connsiteY4" fmla="*/ 0 h 3714150"/>
              <a:gd name="connsiteX0" fmla="*/ 2853556 w 2854167"/>
              <a:gd name="connsiteY0" fmla="*/ 0 h 3714150"/>
              <a:gd name="connsiteX1" fmla="*/ 2853556 w 2854167"/>
              <a:gd name="connsiteY1" fmla="*/ 3714150 h 3714150"/>
              <a:gd name="connsiteX2" fmla="*/ 2603578 w 2854167"/>
              <a:gd name="connsiteY2" fmla="*/ 3608244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55953 w 2854167"/>
              <a:gd name="connsiteY2" fmla="*/ 3608244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32141 w 2854167"/>
              <a:gd name="connsiteY2" fmla="*/ 3605863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32141 w 2854167"/>
              <a:gd name="connsiteY2" fmla="*/ 3605863 h 3714150"/>
              <a:gd name="connsiteX3" fmla="*/ 0 w 2854167"/>
              <a:gd name="connsiteY3" fmla="*/ 2342713 h 3714150"/>
              <a:gd name="connsiteX4" fmla="*/ 2853556 w 285416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4167" h="3714150">
                <a:moveTo>
                  <a:pt x="2853556" y="0"/>
                </a:moveTo>
                <a:cubicBezTo>
                  <a:pt x="2851439" y="1238050"/>
                  <a:pt x="2855673" y="2476100"/>
                  <a:pt x="2853556" y="3714150"/>
                </a:cubicBezTo>
                <a:lnTo>
                  <a:pt x="2532141" y="3605863"/>
                </a:lnTo>
                <a:lnTo>
                  <a:pt x="0" y="2342713"/>
                </a:lnTo>
                <a:lnTo>
                  <a:pt x="2853556" y="0"/>
                </a:lnTo>
                <a:close/>
              </a:path>
            </a:pathLst>
          </a:custGeom>
          <a:gradFill flip="none" rotWithShape="1">
            <a:gsLst>
              <a:gs pos="0">
                <a:schemeClr val="tx2"/>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accent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tx1"/>
                </a:solidFill>
              </a:defRPr>
            </a:lvl1pPr>
          </a:lstStyle>
          <a:p>
            <a:pPr lvl="0"/>
            <a:r>
              <a:rPr lang="nl-NL" noProof="0" dirty="0"/>
              <a:t>Ruimte voor ondertiteling</a:t>
            </a:r>
            <a:r>
              <a:rPr lang="en-GB" noProof="0" dirty="0"/>
              <a:t>
</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5" name="Freeform 13">
            <a:extLst>
              <a:ext uri="{FF2B5EF4-FFF2-40B4-BE49-F238E27FC236}">
                <a16:creationId xmlns:a16="http://schemas.microsoft.com/office/drawing/2014/main" id="{6D7AD661-DF20-4884-B330-435E5009E89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6" name="Vrije vorm: vorm 15">
            <a:extLst>
              <a:ext uri="{FF2B5EF4-FFF2-40B4-BE49-F238E27FC236}">
                <a16:creationId xmlns:a16="http://schemas.microsoft.com/office/drawing/2014/main" id="{EB9E018E-E1E6-432B-9338-2A6A1E5CB87A}"/>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42895872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dar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272AB7-E486-4D23-8974-C21C6B95F9C2}"/>
              </a:ext>
            </a:extLst>
          </p:cNvPr>
          <p:cNvGraphicFramePr>
            <a:graphicFrameLocks noChangeAspect="1"/>
          </p:cNvGraphicFramePr>
          <p:nvPr userDrawn="1">
            <p:custDataLst>
              <p:tags r:id="rId1"/>
            </p:custDataLst>
            <p:extLst>
              <p:ext uri="{D42A27DB-BD31-4B8C-83A1-F6EECF244321}">
                <p14:modId xmlns:p14="http://schemas.microsoft.com/office/powerpoint/2010/main" val="1750287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B4272AB7-E486-4D23-8974-C21C6B95F9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Shape 12">
            <a:extLst>
              <a:ext uri="{FF2B5EF4-FFF2-40B4-BE49-F238E27FC236}">
                <a16:creationId xmlns:a16="http://schemas.microsoft.com/office/drawing/2014/main" id="{A0695271-F570-409F-857A-DDA155205D71}"/>
              </a:ext>
            </a:extLst>
          </p:cNvPr>
          <p:cNvSpPr/>
          <p:nvPr userDrawn="1"/>
        </p:nvSpPr>
        <p:spPr>
          <a:xfrm>
            <a:off x="-9525" y="1028701"/>
            <a:ext cx="12201525" cy="5836557"/>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Lst>
            <a:ahLst/>
            <a:cxnLst>
              <a:cxn ang="0">
                <a:pos x="connsiteX0" y="connsiteY0"/>
              </a:cxn>
              <a:cxn ang="0">
                <a:pos x="connsiteX1" y="connsiteY1"/>
              </a:cxn>
              <a:cxn ang="0">
                <a:pos x="connsiteX2" y="connsiteY2"/>
              </a:cxn>
              <a:cxn ang="0">
                <a:pos x="connsiteX3" y="connsiteY3"/>
              </a:cxn>
            </a:cxnLst>
            <a:rect l="l" t="t" r="r" b="b"/>
            <a:pathLst>
              <a:path w="12201525" h="5286375">
                <a:moveTo>
                  <a:pt x="0" y="0"/>
                </a:moveTo>
                <a:lnTo>
                  <a:pt x="12201525" y="5277457"/>
                </a:lnTo>
                <a:lnTo>
                  <a:pt x="0" y="528637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gradFill flip="none" rotWithShape="1">
            <a:gsLst>
              <a:gs pos="4300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9593" y="-9525"/>
            <a:ext cx="12211119"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1118" h="6862763">
                <a:moveTo>
                  <a:pt x="68" y="790575"/>
                </a:moveTo>
                <a:cubicBezTo>
                  <a:pt x="4068830" y="2560638"/>
                  <a:pt x="8137593" y="5092700"/>
                  <a:pt x="12206355" y="6862763"/>
                </a:cubicBezTo>
                <a:cubicBezTo>
                  <a:pt x="12207943" y="4575175"/>
                  <a:pt x="12209530" y="2287588"/>
                  <a:pt x="12211118" y="0"/>
                </a:cubicBezTo>
                <a:lnTo>
                  <a:pt x="9593" y="0"/>
                </a:lnTo>
                <a:cubicBezTo>
                  <a:pt x="10651" y="305858"/>
                  <a:pt x="-990" y="484717"/>
                  <a:pt x="68" y="79057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29661" y="3143393"/>
            <a:ext cx="287321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3217" h="3714150">
                <a:moveTo>
                  <a:pt x="2872606" y="0"/>
                </a:moveTo>
                <a:cubicBezTo>
                  <a:pt x="2870489" y="1238050"/>
                  <a:pt x="2874723" y="2476100"/>
                  <a:pt x="2872606" y="3714150"/>
                </a:cubicBezTo>
                <a:lnTo>
                  <a:pt x="2627390" y="3632057"/>
                </a:lnTo>
                <a:lnTo>
                  <a:pt x="0" y="2357001"/>
                </a:lnTo>
                <a:lnTo>
                  <a:pt x="2872606"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ondertiteling
</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4" name="Freeform 13">
            <a:extLst>
              <a:ext uri="{FF2B5EF4-FFF2-40B4-BE49-F238E27FC236}">
                <a16:creationId xmlns:a16="http://schemas.microsoft.com/office/drawing/2014/main" id="{92800C22-FDE7-4BD9-83C8-60C7D87334A8}"/>
              </a:ext>
            </a:extLst>
          </p:cNvPr>
          <p:cNvSpPr>
            <a:spLocks/>
          </p:cNvSpPr>
          <p:nvPr userDrawn="1"/>
        </p:nvSpPr>
        <p:spPr bwMode="auto">
          <a:xfrm>
            <a:off x="10414000" y="6256217"/>
            <a:ext cx="1787525" cy="601787"/>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Lst>
            <a:ahLst/>
            <a:cxnLst>
              <a:cxn ang="0">
                <a:pos x="T0" y="T1"/>
              </a:cxn>
              <a:cxn ang="0">
                <a:pos x="T2" y="T3"/>
              </a:cxn>
              <a:cxn ang="0">
                <a:pos x="T4" y="T5"/>
              </a:cxn>
              <a:cxn ang="0">
                <a:pos x="T6" y="T7"/>
              </a:cxn>
              <a:cxn ang="0">
                <a:pos x="T8" y="T9"/>
              </a:cxn>
            </a:cxnLst>
            <a:rect l="0" t="0" r="r" b="b"/>
            <a:pathLst>
              <a:path w="3176" h="1121">
                <a:moveTo>
                  <a:pt x="0" y="1121"/>
                </a:moveTo>
                <a:lnTo>
                  <a:pt x="821" y="0"/>
                </a:lnTo>
                <a:lnTo>
                  <a:pt x="3176" y="0"/>
                </a:lnTo>
                <a:lnTo>
                  <a:pt x="3176" y="1121"/>
                </a:lnTo>
                <a:lnTo>
                  <a:pt x="0" y="1121"/>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Vrije vorm: vorm 15">
            <a:extLst>
              <a:ext uri="{FF2B5EF4-FFF2-40B4-BE49-F238E27FC236}">
                <a16:creationId xmlns:a16="http://schemas.microsoft.com/office/drawing/2014/main" id="{8F3F986C-8ACC-4FF2-A6B6-6C0495CA11A3}"/>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5454756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light green">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900801E-7BDA-4FD6-A40F-A24E1D70A809}"/>
              </a:ext>
            </a:extLst>
          </p:cNvPr>
          <p:cNvGraphicFramePr>
            <a:graphicFrameLocks noChangeAspect="1"/>
          </p:cNvGraphicFramePr>
          <p:nvPr userDrawn="1">
            <p:custDataLst>
              <p:tags r:id="rId1"/>
            </p:custDataLst>
            <p:extLst>
              <p:ext uri="{D42A27DB-BD31-4B8C-83A1-F6EECF244321}">
                <p14:modId xmlns:p14="http://schemas.microsoft.com/office/powerpoint/2010/main" val="1215768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5900801E-7BDA-4FD6-A40F-A24E1D70A8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Freeform: Shape 14">
            <a:extLst>
              <a:ext uri="{FF2B5EF4-FFF2-40B4-BE49-F238E27FC236}">
                <a16:creationId xmlns:a16="http://schemas.microsoft.com/office/drawing/2014/main" id="{27A626B4-0165-454A-B0D3-B5EE4AF7CDDA}"/>
              </a:ext>
            </a:extLst>
          </p:cNvPr>
          <p:cNvSpPr/>
          <p:nvPr userDrawn="1"/>
        </p:nvSpPr>
        <p:spPr>
          <a:xfrm flipH="1">
            <a:off x="6096002" y="-9525"/>
            <a:ext cx="6095999" cy="6860638"/>
          </a:xfrm>
          <a:custGeom>
            <a:avLst/>
            <a:gdLst>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4572595 w 6095999"/>
              <a:gd name="connsiteY4" fmla="*/ 4630341 h 6860638"/>
              <a:gd name="connsiteX5" fmla="*/ 6095999 w 6095999"/>
              <a:gd name="connsiteY5" fmla="*/ 3827923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8279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5999" h="6860638">
                <a:moveTo>
                  <a:pt x="6095999" y="0"/>
                </a:moveTo>
                <a:lnTo>
                  <a:pt x="0" y="0"/>
                </a:lnTo>
                <a:lnTo>
                  <a:pt x="0" y="6860638"/>
                </a:lnTo>
                <a:lnTo>
                  <a:pt x="758130" y="6522319"/>
                </a:lnTo>
                <a:cubicBezTo>
                  <a:pt x="1774130" y="6016867"/>
                  <a:pt x="5231754" y="4394276"/>
                  <a:pt x="6095999" y="3980323"/>
                </a:cubicBezTo>
                <a:lnTo>
                  <a:pt x="6095999" y="0"/>
                </a:lnTo>
                <a:close/>
              </a:path>
            </a:pathLst>
          </a:custGeom>
          <a:solidFill>
            <a:schemeClr val="tx2">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17" name="Freeform: Shape 16">
            <a:extLst>
              <a:ext uri="{FF2B5EF4-FFF2-40B4-BE49-F238E27FC236}">
                <a16:creationId xmlns:a16="http://schemas.microsoft.com/office/drawing/2014/main" id="{D8994016-0D48-4540-9FCF-CB1ABDAD7C4F}"/>
              </a:ext>
            </a:extLst>
          </p:cNvPr>
          <p:cNvSpPr/>
          <p:nvPr userDrawn="1"/>
        </p:nvSpPr>
        <p:spPr>
          <a:xfrm>
            <a:off x="6096002" y="3944330"/>
            <a:ext cx="3240751" cy="2913670"/>
          </a:xfrm>
          <a:custGeom>
            <a:avLst/>
            <a:gdLst>
              <a:gd name="connsiteX0" fmla="*/ 0 w 3240751"/>
              <a:gd name="connsiteY0" fmla="*/ 0 h 2913670"/>
              <a:gd name="connsiteX1" fmla="*/ 3240751 w 3240751"/>
              <a:gd name="connsiteY1" fmla="*/ 1547588 h 2913670"/>
              <a:gd name="connsiteX2" fmla="*/ 1589920 w 3240751"/>
              <a:gd name="connsiteY2" fmla="*/ 2913670 h 2913670"/>
              <a:gd name="connsiteX3" fmla="*/ 0 w 3240751"/>
              <a:gd name="connsiteY3" fmla="*/ 2913670 h 2913670"/>
            </a:gdLst>
            <a:ahLst/>
            <a:cxnLst>
              <a:cxn ang="0">
                <a:pos x="connsiteX0" y="connsiteY0"/>
              </a:cxn>
              <a:cxn ang="0">
                <a:pos x="connsiteX1" y="connsiteY1"/>
              </a:cxn>
              <a:cxn ang="0">
                <a:pos x="connsiteX2" y="connsiteY2"/>
              </a:cxn>
              <a:cxn ang="0">
                <a:pos x="connsiteX3" y="connsiteY3"/>
              </a:cxn>
            </a:cxnLst>
            <a:rect l="l" t="t" r="r" b="b"/>
            <a:pathLst>
              <a:path w="3240751" h="2913670">
                <a:moveTo>
                  <a:pt x="0" y="0"/>
                </a:moveTo>
                <a:lnTo>
                  <a:pt x="3240751" y="1547588"/>
                </a:lnTo>
                <a:lnTo>
                  <a:pt x="1589920" y="2913670"/>
                </a:lnTo>
                <a:lnTo>
                  <a:pt x="0" y="2913670"/>
                </a:lnTo>
                <a:close/>
              </a:path>
            </a:pathLst>
          </a:custGeom>
          <a:gradFill flip="none" rotWithShape="1">
            <a:gsLst>
              <a:gs pos="0">
                <a:schemeClr val="bg1">
                  <a:alpha val="0"/>
                </a:schemeClr>
              </a:gs>
              <a:gs pos="96000">
                <a:schemeClr val="accent1"/>
              </a:gs>
            </a:gsLst>
            <a:lin ang="1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12991" y="3143393"/>
            <a:ext cx="288988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89275 w 2889886"/>
              <a:gd name="connsiteY0" fmla="*/ 0 h 3714150"/>
              <a:gd name="connsiteX1" fmla="*/ 2889275 w 2889886"/>
              <a:gd name="connsiteY1" fmla="*/ 3714150 h 3714150"/>
              <a:gd name="connsiteX2" fmla="*/ 2644059 w 2889886"/>
              <a:gd name="connsiteY2" fmla="*/ 3632057 h 3714150"/>
              <a:gd name="connsiteX3" fmla="*/ 0 w 2889886"/>
              <a:gd name="connsiteY3" fmla="*/ 2368907 h 3714150"/>
              <a:gd name="connsiteX4" fmla="*/ 2889275 w 2889886"/>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9886" h="3714150">
                <a:moveTo>
                  <a:pt x="2889275" y="0"/>
                </a:moveTo>
                <a:cubicBezTo>
                  <a:pt x="2887158" y="1238050"/>
                  <a:pt x="2891392" y="2476100"/>
                  <a:pt x="2889275" y="3714150"/>
                </a:cubicBezTo>
                <a:lnTo>
                  <a:pt x="2644059" y="3632057"/>
                </a:lnTo>
                <a:lnTo>
                  <a:pt x="0" y="2368907"/>
                </a:lnTo>
                <a:lnTo>
                  <a:pt x="2889275" y="0"/>
                </a:lnTo>
                <a:close/>
              </a:path>
            </a:pathLst>
          </a:custGeom>
          <a:gradFill flip="none" rotWithShape="1">
            <a:gsLst>
              <a:gs pos="0">
                <a:schemeClr val="tx2"/>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accent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tx1"/>
                </a:solidFill>
              </a:defRPr>
            </a:lvl1pPr>
          </a:lstStyle>
          <a:p>
            <a:pPr lvl="0"/>
            <a:r>
              <a:rPr lang="nl-NL" noProof="0" dirty="0"/>
              <a:t>Ruimte voor ondertiteling
</a:t>
            </a:r>
          </a:p>
        </p:txBody>
      </p:sp>
      <p:sp>
        <p:nvSpPr>
          <p:cNvPr id="4" name="Freeform: Shape 3">
            <a:extLst>
              <a:ext uri="{FF2B5EF4-FFF2-40B4-BE49-F238E27FC236}">
                <a16:creationId xmlns:a16="http://schemas.microsoft.com/office/drawing/2014/main" id="{DCEAE2EC-3757-4C25-A3B0-AEA880E2C55F}"/>
              </a:ext>
            </a:extLst>
          </p:cNvPr>
          <p:cNvSpPr/>
          <p:nvPr userDrawn="1"/>
        </p:nvSpPr>
        <p:spPr>
          <a:xfrm>
            <a:off x="7658101" y="5486400"/>
            <a:ext cx="3253581" cy="1373982"/>
          </a:xfrm>
          <a:custGeom>
            <a:avLst/>
            <a:gdLst>
              <a:gd name="connsiteX0" fmla="*/ 0 w 3251200"/>
              <a:gd name="connsiteY0" fmla="*/ 1371600 h 1371600"/>
              <a:gd name="connsiteX1" fmla="*/ 1676400 w 3251200"/>
              <a:gd name="connsiteY1" fmla="*/ 0 h 1371600"/>
              <a:gd name="connsiteX2" fmla="*/ 3251200 w 3251200"/>
              <a:gd name="connsiteY2" fmla="*/ 749300 h 1371600"/>
              <a:gd name="connsiteX3" fmla="*/ 2768600 w 3251200"/>
              <a:gd name="connsiteY3" fmla="*/ 1371600 h 1371600"/>
              <a:gd name="connsiteX4" fmla="*/ 0 w 3251200"/>
              <a:gd name="connsiteY4" fmla="*/ 1371600 h 1371600"/>
              <a:gd name="connsiteX0" fmla="*/ 0 w 3227388"/>
              <a:gd name="connsiteY0" fmla="*/ 1371600 h 1371600"/>
              <a:gd name="connsiteX1" fmla="*/ 1676400 w 3227388"/>
              <a:gd name="connsiteY1" fmla="*/ 0 h 1371600"/>
              <a:gd name="connsiteX2" fmla="*/ 3227388 w 3227388"/>
              <a:gd name="connsiteY2" fmla="*/ 765968 h 1371600"/>
              <a:gd name="connsiteX3" fmla="*/ 2768600 w 3227388"/>
              <a:gd name="connsiteY3" fmla="*/ 1371600 h 1371600"/>
              <a:gd name="connsiteX4" fmla="*/ 0 w 3227388"/>
              <a:gd name="connsiteY4" fmla="*/ 1371600 h 1371600"/>
              <a:gd name="connsiteX0" fmla="*/ 0 w 3220244"/>
              <a:gd name="connsiteY0" fmla="*/ 1371600 h 1371600"/>
              <a:gd name="connsiteX1" fmla="*/ 1676400 w 3220244"/>
              <a:gd name="connsiteY1" fmla="*/ 0 h 1371600"/>
              <a:gd name="connsiteX2" fmla="*/ 3220244 w 3220244"/>
              <a:gd name="connsiteY2" fmla="*/ 768350 h 1371600"/>
              <a:gd name="connsiteX3" fmla="*/ 2768600 w 3220244"/>
              <a:gd name="connsiteY3" fmla="*/ 1371600 h 1371600"/>
              <a:gd name="connsiteX4" fmla="*/ 0 w 3220244"/>
              <a:gd name="connsiteY4" fmla="*/ 1371600 h 1371600"/>
              <a:gd name="connsiteX0" fmla="*/ 0 w 3220244"/>
              <a:gd name="connsiteY0" fmla="*/ 1371600 h 1373982"/>
              <a:gd name="connsiteX1" fmla="*/ 1676400 w 3220244"/>
              <a:gd name="connsiteY1" fmla="*/ 0 h 1373982"/>
              <a:gd name="connsiteX2" fmla="*/ 3220244 w 3220244"/>
              <a:gd name="connsiteY2" fmla="*/ 768350 h 1373982"/>
              <a:gd name="connsiteX3" fmla="*/ 2866231 w 3220244"/>
              <a:gd name="connsiteY3" fmla="*/ 1373982 h 1373982"/>
              <a:gd name="connsiteX4" fmla="*/ 0 w 3220244"/>
              <a:gd name="connsiteY4" fmla="*/ 1371600 h 1373982"/>
              <a:gd name="connsiteX0" fmla="*/ 0 w 3248819"/>
              <a:gd name="connsiteY0" fmla="*/ 1371600 h 1373982"/>
              <a:gd name="connsiteX1" fmla="*/ 1676400 w 3248819"/>
              <a:gd name="connsiteY1" fmla="*/ 0 h 1373982"/>
              <a:gd name="connsiteX2" fmla="*/ 3248819 w 3248819"/>
              <a:gd name="connsiteY2" fmla="*/ 773112 h 1373982"/>
              <a:gd name="connsiteX3" fmla="*/ 2866231 w 3248819"/>
              <a:gd name="connsiteY3" fmla="*/ 1373982 h 1373982"/>
              <a:gd name="connsiteX4" fmla="*/ 0 w 3248819"/>
              <a:gd name="connsiteY4" fmla="*/ 1371600 h 1373982"/>
              <a:gd name="connsiteX0" fmla="*/ 0 w 3253581"/>
              <a:gd name="connsiteY0" fmla="*/ 1371600 h 1373982"/>
              <a:gd name="connsiteX1" fmla="*/ 1676400 w 3253581"/>
              <a:gd name="connsiteY1" fmla="*/ 0 h 1373982"/>
              <a:gd name="connsiteX2" fmla="*/ 3253581 w 3253581"/>
              <a:gd name="connsiteY2" fmla="*/ 763587 h 1373982"/>
              <a:gd name="connsiteX3" fmla="*/ 2866231 w 3253581"/>
              <a:gd name="connsiteY3" fmla="*/ 1373982 h 1373982"/>
              <a:gd name="connsiteX4" fmla="*/ 0 w 3253581"/>
              <a:gd name="connsiteY4" fmla="*/ 1371600 h 1373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3581" h="1373982">
                <a:moveTo>
                  <a:pt x="0" y="1371600"/>
                </a:moveTo>
                <a:lnTo>
                  <a:pt x="1676400" y="0"/>
                </a:lnTo>
                <a:lnTo>
                  <a:pt x="3253581" y="763587"/>
                </a:lnTo>
                <a:lnTo>
                  <a:pt x="2866231" y="1373982"/>
                </a:lnTo>
                <a:lnTo>
                  <a:pt x="0" y="13716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0" name="Freeform 13">
            <a:extLst>
              <a:ext uri="{FF2B5EF4-FFF2-40B4-BE49-F238E27FC236}">
                <a16:creationId xmlns:a16="http://schemas.microsoft.com/office/drawing/2014/main" id="{AF6C7826-3FE0-476B-9A78-98D41FA73CA7}"/>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2" name="Vrije vorm: vorm 11">
            <a:extLst>
              <a:ext uri="{FF2B5EF4-FFF2-40B4-BE49-F238E27FC236}">
                <a16:creationId xmlns:a16="http://schemas.microsoft.com/office/drawing/2014/main" id="{DC05B256-F3A6-40AB-831B-33713D2F3A4B}"/>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383669232"/>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dark green">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EB98D4-EE4F-4521-B4F2-2A520BFC26BD}"/>
              </a:ext>
            </a:extLst>
          </p:cNvPr>
          <p:cNvGraphicFramePr>
            <a:graphicFrameLocks noChangeAspect="1"/>
          </p:cNvGraphicFramePr>
          <p:nvPr userDrawn="1">
            <p:custDataLst>
              <p:tags r:id="rId1"/>
            </p:custDataLst>
            <p:extLst>
              <p:ext uri="{D42A27DB-BD31-4B8C-83A1-F6EECF244321}">
                <p14:modId xmlns:p14="http://schemas.microsoft.com/office/powerpoint/2010/main" val="2761277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4EEB98D4-EE4F-4521-B4F2-2A520BFC26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Freeform: Shape 14">
            <a:extLst>
              <a:ext uri="{FF2B5EF4-FFF2-40B4-BE49-F238E27FC236}">
                <a16:creationId xmlns:a16="http://schemas.microsoft.com/office/drawing/2014/main" id="{27A626B4-0165-454A-B0D3-B5EE4AF7CDDA}"/>
              </a:ext>
            </a:extLst>
          </p:cNvPr>
          <p:cNvSpPr/>
          <p:nvPr userDrawn="1"/>
        </p:nvSpPr>
        <p:spPr>
          <a:xfrm flipH="1">
            <a:off x="6096002" y="-9525"/>
            <a:ext cx="6095999" cy="6860638"/>
          </a:xfrm>
          <a:custGeom>
            <a:avLst/>
            <a:gdLst>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4572595 w 6095999"/>
              <a:gd name="connsiteY4" fmla="*/ 4630341 h 6860638"/>
              <a:gd name="connsiteX5" fmla="*/ 6095999 w 6095999"/>
              <a:gd name="connsiteY5" fmla="*/ 3827923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8279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5999" h="6860638">
                <a:moveTo>
                  <a:pt x="6095999" y="0"/>
                </a:moveTo>
                <a:lnTo>
                  <a:pt x="0" y="0"/>
                </a:lnTo>
                <a:lnTo>
                  <a:pt x="0" y="6860638"/>
                </a:lnTo>
                <a:lnTo>
                  <a:pt x="758130" y="6522319"/>
                </a:lnTo>
                <a:cubicBezTo>
                  <a:pt x="1774130" y="6016867"/>
                  <a:pt x="5231754" y="4394276"/>
                  <a:pt x="6095999" y="3980323"/>
                </a:cubicBezTo>
                <a:lnTo>
                  <a:pt x="6095999" y="0"/>
                </a:lnTo>
                <a:close/>
              </a:path>
            </a:pathLst>
          </a:custGeom>
          <a:solidFill>
            <a:schemeClr val="accent3">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17" name="Freeform: Shape 16">
            <a:extLst>
              <a:ext uri="{FF2B5EF4-FFF2-40B4-BE49-F238E27FC236}">
                <a16:creationId xmlns:a16="http://schemas.microsoft.com/office/drawing/2014/main" id="{D8994016-0D48-4540-9FCF-CB1ABDAD7C4F}"/>
              </a:ext>
            </a:extLst>
          </p:cNvPr>
          <p:cNvSpPr/>
          <p:nvPr userDrawn="1"/>
        </p:nvSpPr>
        <p:spPr>
          <a:xfrm>
            <a:off x="6096002" y="3944330"/>
            <a:ext cx="3240751" cy="2913670"/>
          </a:xfrm>
          <a:custGeom>
            <a:avLst/>
            <a:gdLst>
              <a:gd name="connsiteX0" fmla="*/ 0 w 3240751"/>
              <a:gd name="connsiteY0" fmla="*/ 0 h 2913670"/>
              <a:gd name="connsiteX1" fmla="*/ 3240751 w 3240751"/>
              <a:gd name="connsiteY1" fmla="*/ 1547588 h 2913670"/>
              <a:gd name="connsiteX2" fmla="*/ 1589920 w 3240751"/>
              <a:gd name="connsiteY2" fmla="*/ 2913670 h 2913670"/>
              <a:gd name="connsiteX3" fmla="*/ 0 w 3240751"/>
              <a:gd name="connsiteY3" fmla="*/ 2913670 h 2913670"/>
            </a:gdLst>
            <a:ahLst/>
            <a:cxnLst>
              <a:cxn ang="0">
                <a:pos x="connsiteX0" y="connsiteY0"/>
              </a:cxn>
              <a:cxn ang="0">
                <a:pos x="connsiteX1" y="connsiteY1"/>
              </a:cxn>
              <a:cxn ang="0">
                <a:pos x="connsiteX2" y="connsiteY2"/>
              </a:cxn>
              <a:cxn ang="0">
                <a:pos x="connsiteX3" y="connsiteY3"/>
              </a:cxn>
            </a:cxnLst>
            <a:rect l="l" t="t" r="r" b="b"/>
            <a:pathLst>
              <a:path w="3240751" h="2913670">
                <a:moveTo>
                  <a:pt x="0" y="0"/>
                </a:moveTo>
                <a:lnTo>
                  <a:pt x="3240751" y="1547588"/>
                </a:lnTo>
                <a:lnTo>
                  <a:pt x="1589920" y="2913670"/>
                </a:lnTo>
                <a:lnTo>
                  <a:pt x="0" y="2913670"/>
                </a:lnTo>
                <a:close/>
              </a:path>
            </a:pathLst>
          </a:custGeom>
          <a:gradFill flip="none" rotWithShape="1">
            <a:gsLst>
              <a:gs pos="0">
                <a:schemeClr val="accent3"/>
              </a:gs>
              <a:gs pos="96000">
                <a:schemeClr val="accent1"/>
              </a:gs>
            </a:gsLst>
            <a:lin ang="1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32835" y="3156093"/>
            <a:ext cx="2863693"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89275 w 2889886"/>
              <a:gd name="connsiteY0" fmla="*/ 0 h 3714150"/>
              <a:gd name="connsiteX1" fmla="*/ 2889275 w 2889886"/>
              <a:gd name="connsiteY1" fmla="*/ 3714150 h 3714150"/>
              <a:gd name="connsiteX2" fmla="*/ 2644059 w 2889886"/>
              <a:gd name="connsiteY2" fmla="*/ 3632057 h 3714150"/>
              <a:gd name="connsiteX3" fmla="*/ 0 w 2889886"/>
              <a:gd name="connsiteY3" fmla="*/ 2368907 h 3714150"/>
              <a:gd name="connsiteX4" fmla="*/ 2889275 w 2889886"/>
              <a:gd name="connsiteY4" fmla="*/ 0 h 3714150"/>
              <a:gd name="connsiteX0" fmla="*/ 2863081 w 2863692"/>
              <a:gd name="connsiteY0" fmla="*/ 0 h 3714150"/>
              <a:gd name="connsiteX1" fmla="*/ 2863081 w 2863692"/>
              <a:gd name="connsiteY1" fmla="*/ 3714150 h 3714150"/>
              <a:gd name="connsiteX2" fmla="*/ 2617865 w 2863692"/>
              <a:gd name="connsiteY2" fmla="*/ 3632057 h 3714150"/>
              <a:gd name="connsiteX3" fmla="*/ 0 w 2863692"/>
              <a:gd name="connsiteY3" fmla="*/ 2349857 h 3714150"/>
              <a:gd name="connsiteX4" fmla="*/ 2863081 w 2863692"/>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3692" h="3714150">
                <a:moveTo>
                  <a:pt x="2863081" y="0"/>
                </a:moveTo>
                <a:cubicBezTo>
                  <a:pt x="2860964" y="1238050"/>
                  <a:pt x="2865198" y="2476100"/>
                  <a:pt x="2863081" y="3714150"/>
                </a:cubicBezTo>
                <a:lnTo>
                  <a:pt x="2617865" y="3632057"/>
                </a:lnTo>
                <a:lnTo>
                  <a:pt x="0" y="2349857"/>
                </a:lnTo>
                <a:lnTo>
                  <a:pt x="2863081"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ondertiteling
</a:t>
            </a:r>
          </a:p>
        </p:txBody>
      </p:sp>
      <p:sp>
        <p:nvSpPr>
          <p:cNvPr id="4" name="Freeform: Shape 3">
            <a:extLst>
              <a:ext uri="{FF2B5EF4-FFF2-40B4-BE49-F238E27FC236}">
                <a16:creationId xmlns:a16="http://schemas.microsoft.com/office/drawing/2014/main" id="{DCEAE2EC-3757-4C25-A3B0-AEA880E2C55F}"/>
              </a:ext>
            </a:extLst>
          </p:cNvPr>
          <p:cNvSpPr/>
          <p:nvPr userDrawn="1"/>
        </p:nvSpPr>
        <p:spPr>
          <a:xfrm>
            <a:off x="7658101" y="5486400"/>
            <a:ext cx="3250405" cy="1371600"/>
          </a:xfrm>
          <a:custGeom>
            <a:avLst/>
            <a:gdLst>
              <a:gd name="connsiteX0" fmla="*/ 0 w 3251200"/>
              <a:gd name="connsiteY0" fmla="*/ 1371600 h 1371600"/>
              <a:gd name="connsiteX1" fmla="*/ 1676400 w 3251200"/>
              <a:gd name="connsiteY1" fmla="*/ 0 h 1371600"/>
              <a:gd name="connsiteX2" fmla="*/ 3251200 w 3251200"/>
              <a:gd name="connsiteY2" fmla="*/ 749300 h 1371600"/>
              <a:gd name="connsiteX3" fmla="*/ 2768600 w 3251200"/>
              <a:gd name="connsiteY3" fmla="*/ 1371600 h 1371600"/>
              <a:gd name="connsiteX4" fmla="*/ 0 w 3251200"/>
              <a:gd name="connsiteY4" fmla="*/ 1371600 h 1371600"/>
              <a:gd name="connsiteX0" fmla="*/ 0 w 3227388"/>
              <a:gd name="connsiteY0" fmla="*/ 1371600 h 1371600"/>
              <a:gd name="connsiteX1" fmla="*/ 1676400 w 3227388"/>
              <a:gd name="connsiteY1" fmla="*/ 0 h 1371600"/>
              <a:gd name="connsiteX2" fmla="*/ 3227388 w 3227388"/>
              <a:gd name="connsiteY2" fmla="*/ 765968 h 1371600"/>
              <a:gd name="connsiteX3" fmla="*/ 2768600 w 3227388"/>
              <a:gd name="connsiteY3" fmla="*/ 1371600 h 1371600"/>
              <a:gd name="connsiteX4" fmla="*/ 0 w 3227388"/>
              <a:gd name="connsiteY4" fmla="*/ 1371600 h 1371600"/>
              <a:gd name="connsiteX0" fmla="*/ 0 w 3220244"/>
              <a:gd name="connsiteY0" fmla="*/ 1371600 h 1371600"/>
              <a:gd name="connsiteX1" fmla="*/ 1676400 w 3220244"/>
              <a:gd name="connsiteY1" fmla="*/ 0 h 1371600"/>
              <a:gd name="connsiteX2" fmla="*/ 3220244 w 3220244"/>
              <a:gd name="connsiteY2" fmla="*/ 768350 h 1371600"/>
              <a:gd name="connsiteX3" fmla="*/ 2768600 w 3220244"/>
              <a:gd name="connsiteY3" fmla="*/ 1371600 h 1371600"/>
              <a:gd name="connsiteX4" fmla="*/ 0 w 3220244"/>
              <a:gd name="connsiteY4" fmla="*/ 1371600 h 1371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0244" h="1371600">
                <a:moveTo>
                  <a:pt x="0" y="1371600"/>
                </a:moveTo>
                <a:lnTo>
                  <a:pt x="1676400" y="0"/>
                </a:lnTo>
                <a:lnTo>
                  <a:pt x="3220244" y="768350"/>
                </a:lnTo>
                <a:lnTo>
                  <a:pt x="2768600" y="1371600"/>
                </a:lnTo>
                <a:lnTo>
                  <a:pt x="0" y="13716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13">
            <a:extLst>
              <a:ext uri="{FF2B5EF4-FFF2-40B4-BE49-F238E27FC236}">
                <a16:creationId xmlns:a16="http://schemas.microsoft.com/office/drawing/2014/main" id="{2E2457F3-F06C-4505-820D-D40E7AC86B5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1" name="Vrije vorm: vorm 10">
            <a:extLst>
              <a:ext uri="{FF2B5EF4-FFF2-40B4-BE49-F238E27FC236}">
                <a16:creationId xmlns:a16="http://schemas.microsoft.com/office/drawing/2014/main" id="{E6DB3C11-215D-4599-B476-A8D38DCF32A9}"/>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42650713"/>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hotos and text">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027A34-DA61-4FA9-90FE-804A906DC605}"/>
              </a:ext>
            </a:extLst>
          </p:cNvPr>
          <p:cNvGraphicFramePr>
            <a:graphicFrameLocks noChangeAspect="1"/>
          </p:cNvGraphicFramePr>
          <p:nvPr userDrawn="1">
            <p:custDataLst>
              <p:tags r:id="rId1"/>
            </p:custDataLst>
            <p:extLst>
              <p:ext uri="{D42A27DB-BD31-4B8C-83A1-F6EECF244321}">
                <p14:modId xmlns:p14="http://schemas.microsoft.com/office/powerpoint/2010/main" val="3838144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34027A34-DA61-4FA9-90FE-804A906DC6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3">
            <a:extLst>
              <a:ext uri="{FF2B5EF4-FFF2-40B4-BE49-F238E27FC236}">
                <a16:creationId xmlns:a16="http://schemas.microsoft.com/office/drawing/2014/main" id="{9ADA00E2-F4E0-41A0-9149-078B6BB91D8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US" sz="900" b="0" noProof="0" smtClean="0">
                <a:solidFill>
                  <a:schemeClr val="bg1"/>
                </a:solidFill>
                <a:cs typeface="Arial" pitchFamily="34" charset="0"/>
              </a:rPr>
              <a:pPr algn="ctr" fontAlgn="auto">
                <a:spcBef>
                  <a:spcPts val="0"/>
                </a:spcBef>
                <a:spcAft>
                  <a:spcPts val="0"/>
                </a:spcAft>
                <a:defRPr/>
              </a:pPr>
              <a:t>‹nr.›</a:t>
            </a:fld>
            <a:endParaRPr lang="en-US"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4276919"/>
            <a:ext cx="9614285" cy="601788"/>
          </a:xfrm>
          <a:prstGeom prst="rect">
            <a:avLst/>
          </a:prstGeom>
        </p:spPr>
        <p:txBody>
          <a:bodyPr vert="horz" lIns="0"/>
          <a:lstStyle>
            <a:lvl1pPr rtl="0">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4879182"/>
            <a:ext cx="9599885" cy="1358107"/>
          </a:xfrm>
          <a:prstGeom prst="rect">
            <a:avLst/>
          </a:prstGeom>
        </p:spPr>
        <p:txBody>
          <a:bodyPr lIns="0"/>
          <a:lstStyle>
            <a:lvl1pPr marL="171450" indent="-171450" rtl="0">
              <a:spcAft>
                <a:spcPts val="0"/>
              </a:spcAft>
              <a:buClr>
                <a:schemeClr val="accent2"/>
              </a:buClr>
              <a:buFont typeface="Arial" panose="020B0604020202020204" pitchFamily="34" charset="0"/>
              <a:buChar char="•"/>
              <a:defRPr sz="1600" b="0">
                <a:solidFill>
                  <a:schemeClr val="tx1"/>
                </a:solidFill>
              </a:defRPr>
            </a:lvl1pPr>
            <a:lvl2pPr marL="449263" indent="-171450" rtl="0">
              <a:spcAft>
                <a:spcPts val="0"/>
              </a:spcAft>
              <a:buClr>
                <a:schemeClr val="accent5"/>
              </a:buClr>
              <a:buFont typeface="Arial" panose="020B0604020202020204" pitchFamily="34" charset="0"/>
              <a:buChar char="̶"/>
              <a:defRPr sz="1400" b="0">
                <a:solidFill>
                  <a:schemeClr val="tx1"/>
                </a:solidFill>
              </a:defRPr>
            </a:lvl2pPr>
            <a:lvl3pPr marL="630238" indent="-171450" rtl="0">
              <a:spcAft>
                <a:spcPts val="0"/>
              </a:spcAft>
              <a:buClr>
                <a:schemeClr val="accent1"/>
              </a:buClr>
              <a:buFont typeface="Arial" panose="020B0604020202020204" pitchFamily="34" charset="0"/>
              <a:buChar char="•"/>
              <a:defRPr sz="1200" b="0">
                <a:solidFill>
                  <a:schemeClr val="tx1"/>
                </a:solidFill>
              </a:defRPr>
            </a:lvl3pPr>
            <a:lvl4pPr marL="896938" indent="-171450" rtl="0">
              <a:spcAft>
                <a:spcPts val="0"/>
              </a:spcAft>
              <a:buClr>
                <a:schemeClr val="accent5"/>
              </a:buClr>
              <a:buFont typeface="Arial" panose="020B0604020202020204" pitchFamily="34" charset="0"/>
              <a:buChar char="̶"/>
              <a:defRPr sz="1200" b="0">
                <a:solidFill>
                  <a:schemeClr val="tx1"/>
                </a:solidFill>
              </a:defRPr>
            </a:lvl4pPr>
            <a:lvl5pPr marL="1077913" indent="-171450" rtl="0">
              <a:spcAft>
                <a:spcPts val="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Picture Placeholder 14">
            <a:extLst>
              <a:ext uri="{FF2B5EF4-FFF2-40B4-BE49-F238E27FC236}">
                <a16:creationId xmlns:a16="http://schemas.microsoft.com/office/drawing/2014/main" id="{F73B8B97-602A-4818-9083-EB0121433B6A}"/>
              </a:ext>
            </a:extLst>
          </p:cNvPr>
          <p:cNvSpPr>
            <a:spLocks noGrp="1"/>
          </p:cNvSpPr>
          <p:nvPr>
            <p:ph type="pic" sz="quarter" idx="11" hasCustomPrompt="1"/>
          </p:nvPr>
        </p:nvSpPr>
        <p:spPr>
          <a:xfrm>
            <a:off x="1055688" y="1233489"/>
            <a:ext cx="6622241" cy="2665412"/>
          </a:xfrm>
          <a:prstGeom prst="rect">
            <a:avLst/>
          </a:prstGeom>
          <a:pattFill prst="ltUpDiag">
            <a:fgClr>
              <a:schemeClr val="accent5"/>
            </a:fgClr>
            <a:bgClr>
              <a:schemeClr val="bg1"/>
            </a:bgClr>
          </a:pattFill>
        </p:spPr>
        <p:txBody>
          <a:bodyPr/>
          <a:lstStyle>
            <a:lvl1pPr marL="0" indent="0" rtl="0">
              <a:buNone/>
              <a:defRPr lang="nl-NL" sz="1350" b="0" dirty="0">
                <a:solidFill>
                  <a:schemeClr val="tx1"/>
                </a:solidFill>
              </a:defRPr>
            </a:lvl1pPr>
          </a:lstStyle>
          <a:p>
            <a:pPr marL="171450" lvl="0" indent="-171450" algn="ctr"/>
            <a:r>
              <a:rPr lang="nl-NL" noProof="0"/>
              <a:t>Klik op het pictogram om een afbeelding in te voegen
</a:t>
            </a:r>
          </a:p>
        </p:txBody>
      </p:sp>
      <p:sp>
        <p:nvSpPr>
          <p:cNvPr id="10" name="Picture Placeholder 14">
            <a:extLst>
              <a:ext uri="{FF2B5EF4-FFF2-40B4-BE49-F238E27FC236}">
                <a16:creationId xmlns:a16="http://schemas.microsoft.com/office/drawing/2014/main" id="{32C2A2DE-AF17-4760-ACAB-855EBE19BCA9}"/>
              </a:ext>
            </a:extLst>
          </p:cNvPr>
          <p:cNvSpPr>
            <a:spLocks noGrp="1"/>
          </p:cNvSpPr>
          <p:nvPr>
            <p:ph type="pic" sz="quarter" idx="12" hasCustomPrompt="1"/>
          </p:nvPr>
        </p:nvSpPr>
        <p:spPr>
          <a:xfrm>
            <a:off x="7678210" y="1233489"/>
            <a:ext cx="2847975" cy="2665412"/>
          </a:xfrm>
          <a:prstGeom prst="rect">
            <a:avLst/>
          </a:prstGeom>
          <a:pattFill prst="ltUpDiag">
            <a:fgClr>
              <a:schemeClr val="accent5"/>
            </a:fgClr>
            <a:bgClr>
              <a:schemeClr val="bg1"/>
            </a:bgClr>
          </a:pattFill>
        </p:spPr>
        <p:txBody>
          <a:bodyPr/>
          <a:lstStyle>
            <a:lvl1pPr marL="0" indent="0" rtl="0">
              <a:buNone/>
              <a:defRPr lang="nl-NL" sz="1350" b="0" dirty="0">
                <a:solidFill>
                  <a:schemeClr val="tx1"/>
                </a:solidFill>
              </a:defRPr>
            </a:lvl1pPr>
          </a:lstStyle>
          <a:p>
            <a:pPr marL="171450" lvl="0" indent="-171450" algn="ctr"/>
            <a:r>
              <a:rPr lang="nl-NL" noProof="0" dirty="0"/>
              <a:t>Klik op het pictogram om een afbeelding in te voegen
</a:t>
            </a:r>
          </a:p>
        </p:txBody>
      </p:sp>
    </p:spTree>
    <p:extLst>
      <p:ext uri="{BB962C8B-B14F-4D97-AF65-F5344CB8AC3E}">
        <p14:creationId xmlns:p14="http://schemas.microsoft.com/office/powerpoint/2010/main" val="235309871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786FBD-871F-4F5C-85B6-99A712FE9D6F}"/>
              </a:ext>
            </a:extLst>
          </p:cNvPr>
          <p:cNvGraphicFramePr>
            <a:graphicFrameLocks noChangeAspect="1"/>
          </p:cNvGraphicFramePr>
          <p:nvPr userDrawn="1">
            <p:custDataLst>
              <p:tags r:id="rId1"/>
            </p:custDataLst>
            <p:extLst>
              <p:ext uri="{D42A27DB-BD31-4B8C-83A1-F6EECF244321}">
                <p14:modId xmlns:p14="http://schemas.microsoft.com/office/powerpoint/2010/main" val="1498296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60786FBD-871F-4F5C-85B6-99A712FE9D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6" name="Vrije vorm: vorm 5">
            <a:extLst>
              <a:ext uri="{FF2B5EF4-FFF2-40B4-BE49-F238E27FC236}">
                <a16:creationId xmlns:a16="http://schemas.microsoft.com/office/drawing/2014/main" id="{570C1F31-9978-4DB5-90A5-BA3EE99F1E72}"/>
              </a:ext>
            </a:extLst>
          </p:cNvPr>
          <p:cNvSpPr/>
          <p:nvPr userDrawn="1"/>
        </p:nvSpPr>
        <p:spPr>
          <a:xfrm>
            <a:off x="2524898" y="2329096"/>
            <a:ext cx="6494504" cy="1852380"/>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246695715"/>
      </p:ext>
    </p:extLst>
  </p:cSld>
  <p:clrMapOvr>
    <a:masterClrMapping/>
  </p:clrMapOvr>
  <p:extLst>
    <p:ext uri="{DCECCB84-F9BA-43D5-87BE-67443E8EF086}">
      <p15:sldGuideLst xmlns:p15="http://schemas.microsoft.com/office/powerpoint/2012/main">
        <p15:guide id="1" pos="665">
          <p15:clr>
            <a:srgbClr val="FBAE40"/>
          </p15:clr>
        </p15:guide>
        <p15:guide id="2" orient="horz" pos="777">
          <p15:clr>
            <a:srgbClr val="FBAE40"/>
          </p15:clr>
        </p15:guide>
        <p15:guide id="3" pos="6630">
          <p15:clr>
            <a:srgbClr val="FBAE40"/>
          </p15:clr>
        </p15:guide>
        <p15:guide id="4" orient="horz" pos="3929">
          <p15:clr>
            <a:srgbClr val="FBAE40"/>
          </p15:clr>
        </p15:guide>
        <p15:guide id="5" orient="horz" pos="473">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ussenpagina donker">
    <p:bg>
      <p:bgPr>
        <a:solidFill>
          <a:schemeClr val="bg2"/>
        </a:solidFill>
        <a:effectLst/>
      </p:bgPr>
    </p:bg>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A0695271-F570-409F-857A-DDA155205D71}"/>
              </a:ext>
            </a:extLst>
          </p:cNvPr>
          <p:cNvSpPr/>
          <p:nvPr userDrawn="1"/>
        </p:nvSpPr>
        <p:spPr>
          <a:xfrm>
            <a:off x="-9525" y="1028701"/>
            <a:ext cx="12201525" cy="5836557"/>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Lst>
            <a:ahLst/>
            <a:cxnLst>
              <a:cxn ang="0">
                <a:pos x="connsiteX0" y="connsiteY0"/>
              </a:cxn>
              <a:cxn ang="0">
                <a:pos x="connsiteX1" y="connsiteY1"/>
              </a:cxn>
              <a:cxn ang="0">
                <a:pos x="connsiteX2" y="connsiteY2"/>
              </a:cxn>
              <a:cxn ang="0">
                <a:pos x="connsiteX3" y="connsiteY3"/>
              </a:cxn>
            </a:cxnLst>
            <a:rect l="l" t="t" r="r" b="b"/>
            <a:pathLst>
              <a:path w="12201525" h="5286375">
                <a:moveTo>
                  <a:pt x="0" y="0"/>
                </a:moveTo>
                <a:lnTo>
                  <a:pt x="12201525" y="5277457"/>
                </a:lnTo>
                <a:lnTo>
                  <a:pt x="0" y="528637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gradFill flip="none" rotWithShape="1">
            <a:gsLst>
              <a:gs pos="4300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9593" y="-9525"/>
            <a:ext cx="12211119"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1118" h="6862763">
                <a:moveTo>
                  <a:pt x="68" y="790575"/>
                </a:moveTo>
                <a:cubicBezTo>
                  <a:pt x="4068830" y="2560638"/>
                  <a:pt x="8137593" y="5092700"/>
                  <a:pt x="12206355" y="6862763"/>
                </a:cubicBezTo>
                <a:cubicBezTo>
                  <a:pt x="12207943" y="4575175"/>
                  <a:pt x="12209530" y="2287588"/>
                  <a:pt x="12211118" y="0"/>
                </a:cubicBezTo>
                <a:lnTo>
                  <a:pt x="9593" y="0"/>
                </a:lnTo>
                <a:cubicBezTo>
                  <a:pt x="10651" y="305858"/>
                  <a:pt x="-990" y="484717"/>
                  <a:pt x="68" y="79057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29661" y="3143393"/>
            <a:ext cx="287321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3217" h="3714150">
                <a:moveTo>
                  <a:pt x="2872606" y="0"/>
                </a:moveTo>
                <a:cubicBezTo>
                  <a:pt x="2870489" y="1238050"/>
                  <a:pt x="2874723" y="2476100"/>
                  <a:pt x="2872606" y="3714150"/>
                </a:cubicBezTo>
                <a:lnTo>
                  <a:pt x="2627390" y="3632057"/>
                </a:lnTo>
                <a:lnTo>
                  <a:pt x="0" y="2357001"/>
                </a:lnTo>
                <a:lnTo>
                  <a:pt x="2872606"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Kop</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een subtitel</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4" name="Freeform 13">
            <a:extLst>
              <a:ext uri="{FF2B5EF4-FFF2-40B4-BE49-F238E27FC236}">
                <a16:creationId xmlns:a16="http://schemas.microsoft.com/office/drawing/2014/main" id="{92800C22-FDE7-4BD9-83C8-60C7D87334A8}"/>
              </a:ext>
            </a:extLst>
          </p:cNvPr>
          <p:cNvSpPr>
            <a:spLocks/>
          </p:cNvSpPr>
          <p:nvPr userDrawn="1"/>
        </p:nvSpPr>
        <p:spPr bwMode="auto">
          <a:xfrm>
            <a:off x="10414000" y="6256217"/>
            <a:ext cx="1787525" cy="601787"/>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Lst>
            <a:ahLst/>
            <a:cxnLst>
              <a:cxn ang="0">
                <a:pos x="T0" y="T1"/>
              </a:cxn>
              <a:cxn ang="0">
                <a:pos x="T2" y="T3"/>
              </a:cxn>
              <a:cxn ang="0">
                <a:pos x="T4" y="T5"/>
              </a:cxn>
              <a:cxn ang="0">
                <a:pos x="T6" y="T7"/>
              </a:cxn>
              <a:cxn ang="0">
                <a:pos x="T8" y="T9"/>
              </a:cxn>
            </a:cxnLst>
            <a:rect l="0" t="0" r="r" b="b"/>
            <a:pathLst>
              <a:path w="3176" h="1121">
                <a:moveTo>
                  <a:pt x="0" y="1121"/>
                </a:moveTo>
                <a:lnTo>
                  <a:pt x="821" y="0"/>
                </a:lnTo>
                <a:lnTo>
                  <a:pt x="3176" y="0"/>
                </a:lnTo>
                <a:lnTo>
                  <a:pt x="3176" y="1121"/>
                </a:lnTo>
                <a:lnTo>
                  <a:pt x="0" y="1121"/>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nl-NL"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nl-NL" sz="900" b="0" noProof="0">
                <a:solidFill>
                  <a:schemeClr val="bg1"/>
                </a:solidFill>
                <a:cs typeface="Arial" pitchFamily="34" charset="0"/>
              </a:rPr>
              <a:pPr algn="ctr" fontAlgn="auto">
                <a:spcBef>
                  <a:spcPts val="0"/>
                </a:spcBef>
                <a:spcAft>
                  <a:spcPts val="0"/>
                </a:spcAft>
                <a:defRPr/>
              </a:pPr>
              <a:t>‹nr.›</a:t>
            </a:fld>
            <a:endParaRPr lang="nl-NL" sz="900" b="0" noProof="0" dirty="0">
              <a:solidFill>
                <a:schemeClr val="bg1"/>
              </a:solidFill>
              <a:cs typeface="Arial" pitchFamily="34" charset="0"/>
            </a:endParaRPr>
          </a:p>
        </p:txBody>
      </p:sp>
    </p:spTree>
    <p:extLst>
      <p:ext uri="{BB962C8B-B14F-4D97-AF65-F5344CB8AC3E}">
        <p14:creationId xmlns:p14="http://schemas.microsoft.com/office/powerpoint/2010/main" val="22834365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CBB7A2-9731-4FDD-BB80-56E820AB956C}"/>
              </a:ext>
            </a:extLst>
          </p:cNvPr>
          <p:cNvGraphicFramePr>
            <a:graphicFrameLocks noChangeAspect="1"/>
          </p:cNvGraphicFramePr>
          <p:nvPr userDrawn="1">
            <p:custDataLst>
              <p:tags r:id="rId1"/>
            </p:custDataLst>
            <p:extLst>
              <p:ext uri="{D42A27DB-BD31-4B8C-83A1-F6EECF244321}">
                <p14:modId xmlns:p14="http://schemas.microsoft.com/office/powerpoint/2010/main" val="3092090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F3CBB7A2-9731-4FDD-BB80-56E820AB95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reeform 13">
            <a:extLst>
              <a:ext uri="{FF2B5EF4-FFF2-40B4-BE49-F238E27FC236}">
                <a16:creationId xmlns:a16="http://schemas.microsoft.com/office/drawing/2014/main" id="{65A54E2A-2DC3-435D-8E51-FBB84F43AB39}"/>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9" y="692606"/>
            <a:ext cx="9600404" cy="601788"/>
          </a:xfrm>
          <a:prstGeom prst="rect">
            <a:avLst/>
          </a:prstGeom>
        </p:spPr>
        <p:txBody>
          <a:bodyPr vert="horz" lIns="0" tIns="4680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3013"/>
            <a:ext cx="9598022" cy="5010943"/>
          </a:xfrm>
          <a:prstGeom prst="rect">
            <a:avLst/>
          </a:prstGeom>
        </p:spPr>
        <p:txBody>
          <a:bodyPr lIns="0"/>
          <a:lstStyle>
            <a:lvl1pPr marL="171450" indent="-171450" rtl="0">
              <a:spcAft>
                <a:spcPts val="600"/>
              </a:spcAft>
              <a:buClr>
                <a:schemeClr val="accent2"/>
              </a:buClr>
              <a:buFont typeface="Arial" panose="020B0604020202020204" pitchFamily="34" charset="0"/>
              <a:buChar char="•"/>
              <a:defRPr sz="1600" b="0">
                <a:solidFill>
                  <a:schemeClr val="tx1"/>
                </a:solidFill>
              </a:defRPr>
            </a:lvl1pPr>
            <a:lvl2pPr marL="449263" indent="-171450" rtl="0">
              <a:spcAft>
                <a:spcPts val="600"/>
              </a:spcAft>
              <a:buClr>
                <a:schemeClr val="accent5"/>
              </a:buClr>
              <a:buFont typeface="Arial" panose="020B0604020202020204" pitchFamily="34" charset="0"/>
              <a:buChar char="̶"/>
              <a:defRPr sz="1400" b="0">
                <a:solidFill>
                  <a:schemeClr val="tx1"/>
                </a:solidFill>
              </a:defRPr>
            </a:lvl2pPr>
            <a:lvl3pPr marL="630238" indent="-171450" rtl="0">
              <a:spcAft>
                <a:spcPts val="600"/>
              </a:spcAft>
              <a:buClr>
                <a:schemeClr val="accent1"/>
              </a:buClr>
              <a:buFont typeface="Arial" panose="020B0604020202020204" pitchFamily="34" charset="0"/>
              <a:buChar char="•"/>
              <a:defRPr sz="1200" b="0">
                <a:solidFill>
                  <a:schemeClr val="tx1"/>
                </a:solidFill>
              </a:defRPr>
            </a:lvl3pPr>
            <a:lvl4pPr marL="896938" indent="-171450" rtl="0">
              <a:spcAft>
                <a:spcPts val="600"/>
              </a:spcAft>
              <a:buClr>
                <a:schemeClr val="accent5"/>
              </a:buClr>
              <a:buFont typeface="Arial" panose="020B0604020202020204" pitchFamily="34" charset="0"/>
              <a:buChar char="̶"/>
              <a:defRPr sz="1200" b="0">
                <a:solidFill>
                  <a:schemeClr val="tx1"/>
                </a:solidFill>
              </a:defRPr>
            </a:lvl4pPr>
            <a:lvl5pPr marL="1077913" indent="-171450" rtl="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1559003588"/>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orient="horz" pos="686" userDrawn="1">
          <p15:clr>
            <a:srgbClr val="FBAE40"/>
          </p15:clr>
        </p15:guide>
        <p15:guide id="6" orient="horz" pos="497"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ullets - dark">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360D417-1219-4DDA-ADDC-7499A82D83AD}"/>
              </a:ext>
            </a:extLst>
          </p:cNvPr>
          <p:cNvGraphicFramePr>
            <a:graphicFrameLocks noChangeAspect="1"/>
          </p:cNvGraphicFramePr>
          <p:nvPr userDrawn="1">
            <p:custDataLst>
              <p:tags r:id="rId1"/>
            </p:custDataLst>
            <p:extLst>
              <p:ext uri="{D42A27DB-BD31-4B8C-83A1-F6EECF244321}">
                <p14:modId xmlns:p14="http://schemas.microsoft.com/office/powerpoint/2010/main" val="2340025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360D417-1219-4DDA-ADDC-7499A82D83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3">
            <a:extLst>
              <a:ext uri="{FF2B5EF4-FFF2-40B4-BE49-F238E27FC236}">
                <a16:creationId xmlns:a16="http://schemas.microsoft.com/office/drawing/2014/main" id="{EB5C3A99-81B2-4A78-BF9F-0B18B2ADD3A9}"/>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a:defRPr sz="2800" b="1">
                <a:solidFill>
                  <a:schemeClr val="bg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9599885" cy="4502150"/>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bg1"/>
                </a:solidFill>
              </a:defRPr>
            </a:lvl1pPr>
            <a:lvl2pPr marL="449263" indent="-171450">
              <a:spcAft>
                <a:spcPts val="600"/>
              </a:spcAft>
              <a:buClr>
                <a:schemeClr val="bg1"/>
              </a:buClr>
              <a:buFont typeface="Arial" panose="020B0604020202020204" pitchFamily="34" charset="0"/>
              <a:buChar char="̶"/>
              <a:defRPr sz="1400" b="0">
                <a:solidFill>
                  <a:schemeClr val="bg1"/>
                </a:solidFill>
              </a:defRPr>
            </a:lvl2pPr>
            <a:lvl3pPr marL="630238" indent="-171450">
              <a:spcAft>
                <a:spcPts val="600"/>
              </a:spcAft>
              <a:buClr>
                <a:schemeClr val="bg1"/>
              </a:buClr>
              <a:buFont typeface="Arial" panose="020B0604020202020204" pitchFamily="34" charset="0"/>
              <a:buChar char="•"/>
              <a:defRPr sz="1200" b="0">
                <a:solidFill>
                  <a:schemeClr val="bg1"/>
                </a:solidFill>
              </a:defRPr>
            </a:lvl3pPr>
            <a:lvl4pPr marL="896938" indent="-171450">
              <a:spcAft>
                <a:spcPts val="600"/>
              </a:spcAft>
              <a:buClr>
                <a:schemeClr val="bg1"/>
              </a:buClr>
              <a:buFont typeface="Arial" panose="020B0604020202020204" pitchFamily="34" charset="0"/>
              <a:buChar char="̶"/>
              <a:defRPr sz="1200" b="0">
                <a:solidFill>
                  <a:schemeClr val="bg1"/>
                </a:solidFill>
              </a:defRPr>
            </a:lvl4pPr>
            <a:lvl5pPr marL="1077913" indent="-171450">
              <a:spcAft>
                <a:spcPts val="600"/>
              </a:spcAft>
              <a:buClr>
                <a:schemeClr val="accent2"/>
              </a:buClr>
              <a:buFont typeface="Arial" panose="020B0604020202020204" pitchFamily="34" charset="0"/>
              <a:buChar char="•"/>
              <a:defRPr sz="1200" b="0">
                <a:solidFill>
                  <a:schemeClr val="bg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Vrije vorm: vorm 7">
            <a:extLst>
              <a:ext uri="{FF2B5EF4-FFF2-40B4-BE49-F238E27FC236}">
                <a16:creationId xmlns:a16="http://schemas.microsoft.com/office/drawing/2014/main" id="{AA955A63-5F22-4FC8-BF8F-E40C90768EF8}"/>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446300490"/>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bject +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34242A8-4673-4F98-9C1D-D29F1D11E711}"/>
              </a:ext>
            </a:extLst>
          </p:cNvPr>
          <p:cNvGraphicFramePr>
            <a:graphicFrameLocks noChangeAspect="1"/>
          </p:cNvGraphicFramePr>
          <p:nvPr userDrawn="1">
            <p:custDataLst>
              <p:tags r:id="rId1"/>
            </p:custDataLst>
            <p:extLst>
              <p:ext uri="{D42A27DB-BD31-4B8C-83A1-F6EECF244321}">
                <p14:modId xmlns:p14="http://schemas.microsoft.com/office/powerpoint/2010/main" val="948499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34242A8-4673-4F98-9C1D-D29F1D11E7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13">
            <a:extLst>
              <a:ext uri="{FF2B5EF4-FFF2-40B4-BE49-F238E27FC236}">
                <a16:creationId xmlns:a16="http://schemas.microsoft.com/office/drawing/2014/main" id="{74B3BFE1-BFBB-431A-8FCE-214226F4487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5" cy="601788"/>
          </a:xfrm>
          <a:prstGeom prst="rect">
            <a:avLst/>
          </a:prstGeom>
        </p:spPr>
        <p:txBody>
          <a:bodyPr vert="horz" lIns="0" tIns="46800" rIns="0"/>
          <a:lstStyle>
            <a:lvl1pPr>
              <a:defRPr sz="2800" b="1">
                <a:solidFill>
                  <a:schemeClr val="accent1"/>
                </a:solidFill>
              </a:defRPr>
            </a:lvl1pPr>
          </a:lstStyle>
          <a:p>
            <a:r>
              <a:rPr lang="nl-NL" noProof="0" dirty="0"/>
              <a:t>Titel</a:t>
            </a:r>
          </a:p>
        </p:txBody>
      </p:sp>
      <p:sp>
        <p:nvSpPr>
          <p:cNvPr id="10" name="Tijdelijke aanduiding voor inhoud 3">
            <a:extLst>
              <a:ext uri="{FF2B5EF4-FFF2-40B4-BE49-F238E27FC236}">
                <a16:creationId xmlns:a16="http://schemas.microsoft.com/office/drawing/2014/main" id="{D1FF5AB7-60D8-4735-9375-906F4A2BBDB4}"/>
              </a:ext>
            </a:extLst>
          </p:cNvPr>
          <p:cNvSpPr>
            <a:spLocks noGrp="1"/>
          </p:cNvSpPr>
          <p:nvPr>
            <p:ph sz="quarter" idx="11" hasCustomPrompt="1"/>
          </p:nvPr>
        </p:nvSpPr>
        <p:spPr>
          <a:xfrm>
            <a:off x="1055688" y="1242000"/>
            <a:ext cx="9470217" cy="49952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sz="1000" b="0">
                <a:solidFill>
                  <a:schemeClr val="tx1"/>
                </a:solidFill>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inhoud in te voegen</a:t>
            </a:r>
            <a:r>
              <a:rPr lang="en-GB" noProof="0" dirty="0"/>
              <a:t>
</a:t>
            </a:r>
          </a:p>
        </p:txBody>
      </p:sp>
    </p:spTree>
    <p:extLst>
      <p:ext uri="{BB962C8B-B14F-4D97-AF65-F5344CB8AC3E}">
        <p14:creationId xmlns:p14="http://schemas.microsoft.com/office/powerpoint/2010/main" val="1260419933"/>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ullets &amp;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1F2D52-2C29-4FEB-98B0-14D3A277C489}"/>
              </a:ext>
            </a:extLst>
          </p:cNvPr>
          <p:cNvGraphicFramePr>
            <a:graphicFrameLocks noChangeAspect="1"/>
          </p:cNvGraphicFramePr>
          <p:nvPr userDrawn="1">
            <p:custDataLst>
              <p:tags r:id="rId1"/>
            </p:custDataLst>
            <p:extLst>
              <p:ext uri="{D42A27DB-BD31-4B8C-83A1-F6EECF244321}">
                <p14:modId xmlns:p14="http://schemas.microsoft.com/office/powerpoint/2010/main" val="2901778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31F2D52-2C29-4FEB-98B0-14D3A277C4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44779C74-4B25-4514-922E-08CD0BC3D96F}"/>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7" y="691200"/>
            <a:ext cx="9471025"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4572000"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242000"/>
            <a:ext cx="4574646" cy="5003800"/>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Tree>
    <p:extLst>
      <p:ext uri="{BB962C8B-B14F-4D97-AF65-F5344CB8AC3E}">
        <p14:creationId xmlns:p14="http://schemas.microsoft.com/office/powerpoint/2010/main" val="849253789"/>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en subtitel+inhou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593AB0A-9FEC-47B7-A574-5DF575838C81}"/>
              </a:ext>
            </a:extLst>
          </p:cNvPr>
          <p:cNvGraphicFramePr>
            <a:graphicFrameLocks noChangeAspect="1"/>
          </p:cNvGraphicFramePr>
          <p:nvPr userDrawn="1">
            <p:custDataLst>
              <p:tags r:id="rId1"/>
            </p:custDataLst>
            <p:extLst>
              <p:ext uri="{D42A27DB-BD31-4B8C-83A1-F6EECF244321}">
                <p14:modId xmlns:p14="http://schemas.microsoft.com/office/powerpoint/2010/main" val="3186757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9593AB0A-9FEC-47B7-A574-5DF575838C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3">
            <a:extLst>
              <a:ext uri="{FF2B5EF4-FFF2-40B4-BE49-F238E27FC236}">
                <a16:creationId xmlns:a16="http://schemas.microsoft.com/office/drawing/2014/main" id="{63ADBBD9-FDDC-4D41-937C-A87835AF021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10" name="Tijdelijke aanduiding voor inhoud 3">
            <a:extLst>
              <a:ext uri="{FF2B5EF4-FFF2-40B4-BE49-F238E27FC236}">
                <a16:creationId xmlns:a16="http://schemas.microsoft.com/office/drawing/2014/main" id="{79D2C27E-38CF-4C6A-A4A2-F1C8B6377EFF}"/>
              </a:ext>
            </a:extLst>
          </p:cNvPr>
          <p:cNvSpPr>
            <a:spLocks noGrp="1"/>
          </p:cNvSpPr>
          <p:nvPr>
            <p:ph sz="quarter" idx="13" hasCustomPrompt="1"/>
          </p:nvPr>
        </p:nvSpPr>
        <p:spPr>
          <a:xfrm>
            <a:off x="1055688" y="1824613"/>
            <a:ext cx="9470495" cy="4412670"/>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11" name="Tijdelijke aanduiding voor tekst 7">
            <a:extLst>
              <a:ext uri="{FF2B5EF4-FFF2-40B4-BE49-F238E27FC236}">
                <a16:creationId xmlns:a16="http://schemas.microsoft.com/office/drawing/2014/main" id="{DD107660-7931-45D5-ADBE-A4DD99904F97}"/>
              </a:ext>
            </a:extLst>
          </p:cNvPr>
          <p:cNvSpPr>
            <a:spLocks noGrp="1"/>
          </p:cNvSpPr>
          <p:nvPr>
            <p:ph type="body" sz="quarter" idx="14" hasCustomPrompt="1"/>
          </p:nvPr>
        </p:nvSpPr>
        <p:spPr>
          <a:xfrm>
            <a:off x="1055688" y="1242000"/>
            <a:ext cx="9469324" cy="582613"/>
          </a:xfrm>
          <a:prstGeom prst="rect">
            <a:avLst/>
          </a:prstGeom>
        </p:spPr>
        <p:txBody>
          <a:bodyPr lIns="0"/>
          <a:lstStyle>
            <a:lvl1pPr>
              <a:defRPr lang="en-US" sz="1600" b="1" kern="1200" noProof="0" dirty="0">
                <a:solidFill>
                  <a:schemeClr val="accent2"/>
                </a:solidFill>
                <a:latin typeface="+mn-lt"/>
                <a:ea typeface="+mn-ea"/>
                <a:cs typeface="+mn-cs"/>
              </a:defRPr>
            </a:lvl1pPr>
            <a:lvl2pPr>
              <a:defRPr lang="en-US" sz="1600" b="1" kern="1200" noProof="0" dirty="0" smtClean="0">
                <a:solidFill>
                  <a:schemeClr val="accent2"/>
                </a:solidFill>
                <a:latin typeface="+mn-lt"/>
                <a:ea typeface="+mn-ea"/>
                <a:cs typeface="+mn-cs"/>
              </a:defRPr>
            </a:lvl2pPr>
            <a:lvl3pPr>
              <a:defRPr lang="en-US" sz="1200" b="0" kern="1200" noProof="0" dirty="0" smtClean="0">
                <a:solidFill>
                  <a:schemeClr val="accent6"/>
                </a:solidFill>
                <a:latin typeface="+mn-lt"/>
                <a:ea typeface="+mn-ea"/>
                <a:cs typeface="+mn-cs"/>
              </a:defRPr>
            </a:lvl3pPr>
          </a:lstStyle>
          <a:p>
            <a:pPr lvl="0"/>
            <a:r>
              <a:rPr lang="nl-NL" noProof="0" dirty="0"/>
              <a:t>Titel</a:t>
            </a:r>
          </a:p>
          <a:p>
            <a:pPr lvl="2"/>
            <a:r>
              <a:rPr lang="nl-NL" noProof="0" dirty="0"/>
              <a:t>Notatie</a:t>
            </a:r>
            <a:r>
              <a:rPr lang="en-GB" noProof="0" dirty="0"/>
              <a:t>
</a:t>
            </a:r>
          </a:p>
        </p:txBody>
      </p:sp>
    </p:spTree>
    <p:extLst>
      <p:ext uri="{BB962C8B-B14F-4D97-AF65-F5344CB8AC3E}">
        <p14:creationId xmlns:p14="http://schemas.microsoft.com/office/powerpoint/2010/main" val="213303117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7ED0D79-8B3D-4548-A083-F9074C6A5CFE}"/>
              </a:ext>
            </a:extLst>
          </p:cNvPr>
          <p:cNvGraphicFramePr>
            <a:graphicFrameLocks noChangeAspect="1"/>
          </p:cNvGraphicFramePr>
          <p:nvPr userDrawn="1">
            <p:custDataLst>
              <p:tags r:id="rId1"/>
            </p:custDataLst>
            <p:extLst>
              <p:ext uri="{D42A27DB-BD31-4B8C-83A1-F6EECF244321}">
                <p14:modId xmlns:p14="http://schemas.microsoft.com/office/powerpoint/2010/main" val="3200937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7ED0D79-8B3D-4548-A083-F9074C6A5C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3">
            <a:extLst>
              <a:ext uri="{FF2B5EF4-FFF2-40B4-BE49-F238E27FC236}">
                <a16:creationId xmlns:a16="http://schemas.microsoft.com/office/drawing/2014/main" id="{AAC7293A-94DA-4F3D-BC4D-65590A2824A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825200"/>
            <a:ext cx="4574646" cy="44120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5954184" y="1242000"/>
            <a:ext cx="4572000" cy="582613"/>
          </a:xfrm>
          <a:prstGeom prst="rect">
            <a:avLst/>
          </a:prstGeom>
        </p:spPr>
        <p:txBody>
          <a:bodyPr lIns="0"/>
          <a:lstStyle>
            <a:lvl1pPr>
              <a:defRPr sz="1600"/>
            </a:lvl1pPr>
            <a:lvl2pPr>
              <a:defRPr sz="1200" b="0">
                <a:solidFill>
                  <a:schemeClr val="accent6"/>
                </a:solidFill>
              </a:defRPr>
            </a:lvl2pPr>
          </a:lstStyle>
          <a:p>
            <a:pPr lvl="0"/>
            <a:r>
              <a:rPr lang="en-GB" noProof="0" dirty="0" err="1"/>
              <a:t>Titel</a:t>
            </a:r>
            <a:endParaRPr lang="en-GB" noProof="0" dirty="0"/>
          </a:p>
          <a:p>
            <a:pPr lvl="1"/>
            <a:r>
              <a:rPr lang="nl-NL" noProof="0" dirty="0"/>
              <a:t>Notatie</a:t>
            </a:r>
          </a:p>
        </p:txBody>
      </p:sp>
      <p:sp>
        <p:nvSpPr>
          <p:cNvPr id="10" name="Tijdelijke aanduiding voor inhoud 3">
            <a:extLst>
              <a:ext uri="{FF2B5EF4-FFF2-40B4-BE49-F238E27FC236}">
                <a16:creationId xmlns:a16="http://schemas.microsoft.com/office/drawing/2014/main" id="{79D2C27E-38CF-4C6A-A4A2-F1C8B6377EFF}"/>
              </a:ext>
            </a:extLst>
          </p:cNvPr>
          <p:cNvSpPr>
            <a:spLocks noGrp="1"/>
          </p:cNvSpPr>
          <p:nvPr>
            <p:ph sz="quarter" idx="13" hasCustomPrompt="1"/>
          </p:nvPr>
        </p:nvSpPr>
        <p:spPr>
          <a:xfrm>
            <a:off x="1056860" y="1825200"/>
            <a:ext cx="4570828" cy="44120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11" name="Tijdelijke aanduiding voor tekst 7">
            <a:extLst>
              <a:ext uri="{FF2B5EF4-FFF2-40B4-BE49-F238E27FC236}">
                <a16:creationId xmlns:a16="http://schemas.microsoft.com/office/drawing/2014/main" id="{DD107660-7931-45D5-ADBE-A4DD99904F97}"/>
              </a:ext>
            </a:extLst>
          </p:cNvPr>
          <p:cNvSpPr>
            <a:spLocks noGrp="1"/>
          </p:cNvSpPr>
          <p:nvPr>
            <p:ph type="body" sz="quarter" idx="14" hasCustomPrompt="1"/>
          </p:nvPr>
        </p:nvSpPr>
        <p:spPr>
          <a:xfrm>
            <a:off x="1055688" y="1242000"/>
            <a:ext cx="4572000" cy="582613"/>
          </a:xfrm>
          <a:prstGeom prst="rect">
            <a:avLst/>
          </a:prstGeom>
        </p:spPr>
        <p:txBody>
          <a:bodyPr lIns="0"/>
          <a:lstStyle>
            <a:lvl1pPr>
              <a:defRPr sz="1600"/>
            </a:lvl1pPr>
            <a:lvl2pPr>
              <a:defRPr lang="nl-NL" sz="1200" b="0" kern="1200" noProof="0" dirty="0">
                <a:solidFill>
                  <a:schemeClr val="accent6"/>
                </a:solidFill>
                <a:latin typeface="+mn-lt"/>
                <a:ea typeface="+mn-ea"/>
                <a:cs typeface="+mn-cs"/>
              </a:defRPr>
            </a:lvl2pPr>
          </a:lstStyle>
          <a:p>
            <a:pPr lvl="0"/>
            <a:r>
              <a:rPr lang="nl-NL" noProof="0" dirty="0"/>
              <a:t>Titel</a:t>
            </a:r>
          </a:p>
          <a:p>
            <a:pPr marL="0" lvl="1" indent="0" algn="l" defTabSz="685800" rtl="0" eaLnBrk="1" latinLnBrk="0" hangingPunct="1">
              <a:lnSpc>
                <a:spcPct val="100000"/>
              </a:lnSpc>
              <a:spcBef>
                <a:spcPts val="0"/>
              </a:spcBef>
              <a:buFont typeface="Arial" panose="020B0604020202020204" pitchFamily="34" charset="0"/>
              <a:buNone/>
            </a:pPr>
            <a:r>
              <a:rPr lang="nl-NL" noProof="0" dirty="0"/>
              <a:t>Notatie</a:t>
            </a:r>
          </a:p>
        </p:txBody>
      </p:sp>
    </p:spTree>
    <p:extLst>
      <p:ext uri="{BB962C8B-B14F-4D97-AF65-F5344CB8AC3E}">
        <p14:creationId xmlns:p14="http://schemas.microsoft.com/office/powerpoint/2010/main" val="1628088374"/>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22E769-A2CD-4E9E-ABA3-C5EF29E9FDB5}"/>
              </a:ext>
            </a:extLst>
          </p:cNvPr>
          <p:cNvGraphicFramePr>
            <a:graphicFrameLocks noChangeAspect="1"/>
          </p:cNvGraphicFramePr>
          <p:nvPr userDrawn="1">
            <p:custDataLst>
              <p:tags r:id="rId1"/>
            </p:custDataLst>
            <p:extLst>
              <p:ext uri="{D42A27DB-BD31-4B8C-83A1-F6EECF244321}">
                <p14:modId xmlns:p14="http://schemas.microsoft.com/office/powerpoint/2010/main" val="4100957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22E769-A2CD-4E9E-ABA3-C5EF29E9FD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reeform 13">
            <a:extLst>
              <a:ext uri="{FF2B5EF4-FFF2-40B4-BE49-F238E27FC236}">
                <a16:creationId xmlns:a16="http://schemas.microsoft.com/office/drawing/2014/main" id="{2CE320BC-2A01-48F9-AF9C-05CC54FB6FEE}"/>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199"/>
            <a:ext cx="4572000" cy="4412087"/>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4" name="Tijdelijke aanduiding voor tekst 7">
            <a:extLst>
              <a:ext uri="{FF2B5EF4-FFF2-40B4-BE49-F238E27FC236}">
                <a16:creationId xmlns:a16="http://schemas.microsoft.com/office/drawing/2014/main" id="{84CC5CEE-15A7-41E4-A0F8-278C542585AF}"/>
              </a:ext>
            </a:extLst>
          </p:cNvPr>
          <p:cNvSpPr>
            <a:spLocks noGrp="1"/>
          </p:cNvSpPr>
          <p:nvPr>
            <p:ph type="body" sz="quarter" idx="24" hasCustomPrompt="1"/>
          </p:nvPr>
        </p:nvSpPr>
        <p:spPr>
          <a:xfrm>
            <a:off x="1055688" y="1242000"/>
            <a:ext cx="4572001"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25" name="Tijdelijke aanduiding voor tekst 5">
            <a:extLst>
              <a:ext uri="{FF2B5EF4-FFF2-40B4-BE49-F238E27FC236}">
                <a16:creationId xmlns:a16="http://schemas.microsoft.com/office/drawing/2014/main" id="{63107E54-C3E5-403B-B65F-53F727038DF8}"/>
              </a:ext>
            </a:extLst>
          </p:cNvPr>
          <p:cNvSpPr>
            <a:spLocks noGrp="1"/>
          </p:cNvSpPr>
          <p:nvPr>
            <p:ph type="body" sz="quarter" idx="25" hasCustomPrompt="1"/>
          </p:nvPr>
        </p:nvSpPr>
        <p:spPr>
          <a:xfrm>
            <a:off x="5954182" y="1825200"/>
            <a:ext cx="4572003"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6" name="Tijdelijke aanduiding voor tekst 7">
            <a:extLst>
              <a:ext uri="{FF2B5EF4-FFF2-40B4-BE49-F238E27FC236}">
                <a16:creationId xmlns:a16="http://schemas.microsoft.com/office/drawing/2014/main" id="{01415FD0-867D-4E84-AC91-79B28EE65678}"/>
              </a:ext>
            </a:extLst>
          </p:cNvPr>
          <p:cNvSpPr>
            <a:spLocks noGrp="1"/>
          </p:cNvSpPr>
          <p:nvPr>
            <p:ph type="body" sz="quarter" idx="12" hasCustomPrompt="1"/>
          </p:nvPr>
        </p:nvSpPr>
        <p:spPr>
          <a:xfrm>
            <a:off x="5954183" y="1242000"/>
            <a:ext cx="4572001"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610790346"/>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3325BB-A370-45A4-8116-720CAFD297B4}"/>
              </a:ext>
            </a:extLst>
          </p:cNvPr>
          <p:cNvGraphicFramePr>
            <a:graphicFrameLocks noChangeAspect="1"/>
          </p:cNvGraphicFramePr>
          <p:nvPr userDrawn="1">
            <p:custDataLst>
              <p:tags r:id="rId30"/>
            </p:custDataLst>
            <p:extLst>
              <p:ext uri="{D42A27DB-BD31-4B8C-83A1-F6EECF244321}">
                <p14:modId xmlns:p14="http://schemas.microsoft.com/office/powerpoint/2010/main" val="1279413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306" imgH="306" progId="TCLayout.ActiveDocument.1">
                  <p:embed/>
                </p:oleObj>
              </mc:Choice>
              <mc:Fallback>
                <p:oleObj name="think-cell Slide" r:id="rId31" imgW="306" imgH="306" progId="TCLayout.ActiveDocument.1">
                  <p:embed/>
                  <p:pic>
                    <p:nvPicPr>
                      <p:cNvPr id="2" name="Object 1" hidden="1">
                        <a:extLst>
                          <a:ext uri="{FF2B5EF4-FFF2-40B4-BE49-F238E27FC236}">
                            <a16:creationId xmlns:a16="http://schemas.microsoft.com/office/drawing/2014/main" id="{9C3325BB-A370-45A4-8116-720CAFD297B4}"/>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03E817B6-CAEB-4F58-A0D5-6014A595C65D}"/>
              </a:ext>
            </a:extLst>
          </p:cNvPr>
          <p:cNvSpPr txBox="1"/>
          <p:nvPr userDrawn="1"/>
        </p:nvSpPr>
        <p:spPr>
          <a:xfrm>
            <a:off x="173283" y="6184856"/>
            <a:ext cx="1726537" cy="369332"/>
          </a:xfrm>
          <a:prstGeom prst="rect">
            <a:avLst/>
          </a:prstGeom>
          <a:noFill/>
        </p:spPr>
        <p:txBody>
          <a:bodyPr wrap="square" lIns="0" rIns="0" rtlCol="0">
            <a:spAutoFit/>
          </a:bodyPr>
          <a:lstStyle/>
          <a:p>
            <a:pPr marL="0" indent="0" algn="l" defTabSz="685800" rtl="0" eaLnBrk="1" latinLnBrk="0" hangingPunct="1">
              <a:lnSpc>
                <a:spcPct val="100000"/>
              </a:lnSpc>
              <a:spcBef>
                <a:spcPts val="0"/>
              </a:spcBef>
              <a:buFont typeface="Arial" panose="020B0604020202020204" pitchFamily="34" charset="0"/>
              <a:buNone/>
            </a:pPr>
            <a:r>
              <a:rPr lang="nl-NL" sz="600" b="1" kern="1200" noProof="0" dirty="0">
                <a:solidFill>
                  <a:schemeClr val="accent2"/>
                </a:solidFill>
                <a:latin typeface="+mn-lt"/>
                <a:ea typeface="+mn-ea"/>
                <a:cs typeface="+mn-cs"/>
              </a:rPr>
              <a:t>Janneke Bosma</a:t>
            </a:r>
          </a:p>
          <a:p>
            <a:pPr marL="0" indent="0" algn="l" defTabSz="685800" rtl="0" eaLnBrk="1" latinLnBrk="0" hangingPunct="1">
              <a:lnSpc>
                <a:spcPct val="100000"/>
              </a:lnSpc>
              <a:spcBef>
                <a:spcPts val="0"/>
              </a:spcBef>
              <a:buFont typeface="Arial" panose="020B0604020202020204" pitchFamily="34" charset="0"/>
              <a:buNone/>
            </a:pPr>
            <a:r>
              <a:rPr lang="nl-NL" sz="600" b="1" kern="1200" noProof="0" dirty="0">
                <a:solidFill>
                  <a:schemeClr val="accent2"/>
                </a:solidFill>
                <a:latin typeface="+mn-lt"/>
                <a:ea typeface="+mn-ea"/>
                <a:cs typeface="+mn-cs"/>
              </a:rPr>
              <a:t>Materiaalpaspoort/Digitaal Product Paspoort
</a:t>
            </a:r>
            <a:endParaRPr lang="en-GB" sz="600" b="1" kern="1200" noProof="0" dirty="0">
              <a:solidFill>
                <a:schemeClr val="accent2"/>
              </a:solidFill>
              <a:latin typeface="+mn-lt"/>
              <a:ea typeface="+mn-ea"/>
              <a:cs typeface="+mn-cs"/>
            </a:endParaRPr>
          </a:p>
        </p:txBody>
      </p:sp>
    </p:spTree>
    <p:extLst>
      <p:ext uri="{BB962C8B-B14F-4D97-AF65-F5344CB8AC3E}">
        <p14:creationId xmlns:p14="http://schemas.microsoft.com/office/powerpoint/2010/main" val="2482416604"/>
      </p:ext>
    </p:extLst>
  </p:cSld>
  <p:clrMap bg1="lt1" tx1="dk1" bg2="lt2" tx2="dk2" accent1="accent1" accent2="accent2" accent3="accent3" accent4="accent4" accent5="accent5" accent6="accent6" hlink="hlink" folHlink="folHlink"/>
  <p:sldLayoutIdLst>
    <p:sldLayoutId id="2147483689" r:id="rId1"/>
    <p:sldLayoutId id="2147483651" r:id="rId2"/>
    <p:sldLayoutId id="2147483684" r:id="rId3"/>
    <p:sldLayoutId id="2147483688" r:id="rId4"/>
    <p:sldLayoutId id="2147483668" r:id="rId5"/>
    <p:sldLayoutId id="2147483669" r:id="rId6"/>
    <p:sldLayoutId id="2147483671" r:id="rId7"/>
    <p:sldLayoutId id="2147483683" r:id="rId8"/>
    <p:sldLayoutId id="2147483686" r:id="rId9"/>
    <p:sldLayoutId id="2147483687" r:id="rId10"/>
    <p:sldLayoutId id="2147483650" r:id="rId11"/>
    <p:sldLayoutId id="2147483654" r:id="rId12"/>
    <p:sldLayoutId id="2147483679" r:id="rId13"/>
    <p:sldLayoutId id="2147483676" r:id="rId14"/>
    <p:sldLayoutId id="2147483677" r:id="rId15"/>
    <p:sldLayoutId id="2147483673" r:id="rId16"/>
    <p:sldLayoutId id="2147483682" r:id="rId17"/>
    <p:sldLayoutId id="2147483674" r:id="rId18"/>
    <p:sldLayoutId id="2147483670" r:id="rId19"/>
    <p:sldLayoutId id="2147483675" r:id="rId20"/>
    <p:sldLayoutId id="2147483678" r:id="rId21"/>
    <p:sldLayoutId id="2147483649" r:id="rId22"/>
    <p:sldLayoutId id="2147483681" r:id="rId23"/>
    <p:sldLayoutId id="2147483661" r:id="rId24"/>
    <p:sldLayoutId id="2147483680" r:id="rId25"/>
    <p:sldLayoutId id="2147483685" r:id="rId26"/>
    <p:sldLayoutId id="2147483691" r:id="rId27"/>
    <p:sldLayoutId id="2147483693" r:id="rId28"/>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1pPr>
      <a:lvl2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2pPr>
      <a:lvl3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3pPr>
      <a:lvl4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4pPr>
      <a:lvl5pPr marL="0" indent="0" algn="l" defTabSz="685800" rtl="0" eaLnBrk="1" latinLnBrk="0" hangingPunct="1">
        <a:lnSpc>
          <a:spcPct val="100000"/>
        </a:lnSpc>
        <a:spcBef>
          <a:spcPts val="0"/>
        </a:spcBef>
        <a:buFont typeface="Arial" panose="020B0604020202020204" pitchFamily="34" charset="0"/>
        <a:buNone/>
        <a:defRPr lang="en-GB" sz="600" b="1" kern="1200" dirty="0">
          <a:solidFill>
            <a:schemeClr val="accent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630" userDrawn="1">
          <p15:clr>
            <a:srgbClr val="F26B43"/>
          </p15:clr>
        </p15:guide>
        <p15:guide id="2" pos="3636" userDrawn="1">
          <p15:clr>
            <a:srgbClr val="F26B43"/>
          </p15:clr>
        </p15:guide>
        <p15:guide id="3" pos="374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0.x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hyperlink" Target="http://www.katinfo.com/gewicht" TargetMode="External"/><Relationship Id="rId2" Type="http://schemas.openxmlformats.org/officeDocument/2006/relationships/notesSlide" Target="../notesSlides/notesSlide2.xml"/><Relationship Id="rId1" Type="http://schemas.openxmlformats.org/officeDocument/2006/relationships/slideLayout" Target="../slideLayouts/slideLayout6.xml"/><Relationship Id="rId5" Type="http://schemas.microsoft.com/office/2007/relationships/hdphoto" Target="../media/hdphoto1.wdp"/><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3" Type="http://schemas.openxmlformats.org/officeDocument/2006/relationships/hyperlink" Target="https://youtu.be/rJPhNTw7u4U?feature=shared" TargetMode="External"/><Relationship Id="rId2" Type="http://schemas.openxmlformats.org/officeDocument/2006/relationships/hyperlink" Target="https://www.youtube.com/watch?v=4x_xzT5eF5Q" TargetMode="Externa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hyperlink" Target="http://example.org/" TargetMode="External"/><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D0F40A7-290D-4B44-85DF-DDCFAD898D28}"/>
              </a:ext>
            </a:extLst>
          </p:cNvPr>
          <p:cNvGraphicFramePr>
            <a:graphicFrameLocks noChangeAspect="1"/>
          </p:cNvGraphicFramePr>
          <p:nvPr>
            <p:custDataLst>
              <p:tags r:id="rId1"/>
            </p:custDataLst>
            <p:extLst>
              <p:ext uri="{D42A27DB-BD31-4B8C-83A1-F6EECF244321}">
                <p14:modId xmlns:p14="http://schemas.microsoft.com/office/powerpoint/2010/main" val="3809351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AD0F40A7-290D-4B44-85DF-DDCFAD898D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Tijdelijke aanduiding voor afbeelding 6" descr="Afbeelding met lucht, buiten&#10;&#10;Automatisch gegenereerde beschrijving">
            <a:extLst>
              <a:ext uri="{FF2B5EF4-FFF2-40B4-BE49-F238E27FC236}">
                <a16:creationId xmlns:a16="http://schemas.microsoft.com/office/drawing/2014/main" id="{9C77DBFA-B09A-4E87-AFD3-B33C699A8F6F}"/>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a:stretch>
            <a:fillRect/>
          </a:stretch>
        </p:blipFill>
        <p:spPr>
          <a:xfrm>
            <a:off x="0" y="0"/>
            <a:ext cx="12192000" cy="6858000"/>
          </a:xfrm>
        </p:spPr>
      </p:pic>
      <p:sp>
        <p:nvSpPr>
          <p:cNvPr id="7" name="Vrije vorm: vorm 6">
            <a:extLst>
              <a:ext uri="{FF2B5EF4-FFF2-40B4-BE49-F238E27FC236}">
                <a16:creationId xmlns:a16="http://schemas.microsoft.com/office/drawing/2014/main" id="{15BEB678-0D6A-4E4C-88A8-36B07218DB38}"/>
              </a:ext>
            </a:extLst>
          </p:cNvPr>
          <p:cNvSpPr/>
          <p:nvPr/>
        </p:nvSpPr>
        <p:spPr>
          <a:xfrm>
            <a:off x="7377811" y="0"/>
            <a:ext cx="4814189" cy="6867524"/>
          </a:xfrm>
          <a:custGeom>
            <a:avLst/>
            <a:gdLst>
              <a:gd name="connsiteX0" fmla="*/ 3855339 w 4814189"/>
              <a:gd name="connsiteY0" fmla="*/ 657226 h 6867524"/>
              <a:gd name="connsiteX1" fmla="*/ 3855339 w 4814189"/>
              <a:gd name="connsiteY1" fmla="*/ 700315 h 6867524"/>
              <a:gd name="connsiteX2" fmla="*/ 3837559 w 4814189"/>
              <a:gd name="connsiteY2" fmla="*/ 704851 h 6867524"/>
              <a:gd name="connsiteX3" fmla="*/ 3810889 w 4814189"/>
              <a:gd name="connsiteY3" fmla="*/ 682173 h 6867524"/>
              <a:gd name="connsiteX4" fmla="*/ 3855339 w 4814189"/>
              <a:gd name="connsiteY4" fmla="*/ 657226 h 6867524"/>
              <a:gd name="connsiteX5" fmla="*/ 3656394 w 4814189"/>
              <a:gd name="connsiteY5" fmla="*/ 606608 h 6867524"/>
              <a:gd name="connsiteX6" fmla="*/ 3688652 w 4814189"/>
              <a:gd name="connsiteY6" fmla="*/ 655963 h 6867524"/>
              <a:gd name="connsiteX7" fmla="*/ 3645922 w 4814189"/>
              <a:gd name="connsiteY7" fmla="*/ 705143 h 6867524"/>
              <a:gd name="connsiteX8" fmla="*/ 3634677 w 4814189"/>
              <a:gd name="connsiteY8" fmla="*/ 702908 h 6867524"/>
              <a:gd name="connsiteX9" fmla="*/ 3634677 w 4814189"/>
              <a:gd name="connsiteY9" fmla="*/ 609018 h 6867524"/>
              <a:gd name="connsiteX10" fmla="*/ 3650420 w 4814189"/>
              <a:gd name="connsiteY10" fmla="*/ 606783 h 6867524"/>
              <a:gd name="connsiteX11" fmla="*/ 3656394 w 4814189"/>
              <a:gd name="connsiteY11" fmla="*/ 606608 h 6867524"/>
              <a:gd name="connsiteX12" fmla="*/ 3848394 w 4814189"/>
              <a:gd name="connsiteY12" fmla="*/ 574675 h 6867524"/>
              <a:gd name="connsiteX13" fmla="*/ 3780727 w 4814189"/>
              <a:gd name="connsiteY13" fmla="*/ 585723 h 6867524"/>
              <a:gd name="connsiteX14" fmla="*/ 3780727 w 4814189"/>
              <a:gd name="connsiteY14" fmla="*/ 610029 h 6867524"/>
              <a:gd name="connsiteX15" fmla="*/ 3826566 w 4814189"/>
              <a:gd name="connsiteY15" fmla="*/ 605610 h 6867524"/>
              <a:gd name="connsiteX16" fmla="*/ 3857125 w 4814189"/>
              <a:gd name="connsiteY16" fmla="*/ 621077 h 6867524"/>
              <a:gd name="connsiteX17" fmla="*/ 3857125 w 4814189"/>
              <a:gd name="connsiteY17" fmla="*/ 638755 h 6867524"/>
              <a:gd name="connsiteX18" fmla="*/ 3767630 w 4814189"/>
              <a:gd name="connsiteY18" fmla="*/ 689576 h 6867524"/>
              <a:gd name="connsiteX19" fmla="*/ 3815651 w 4814189"/>
              <a:gd name="connsiteY19" fmla="*/ 738188 h 6867524"/>
              <a:gd name="connsiteX20" fmla="*/ 3859308 w 4814189"/>
              <a:gd name="connsiteY20" fmla="*/ 724930 h 6867524"/>
              <a:gd name="connsiteX21" fmla="*/ 3859308 w 4814189"/>
              <a:gd name="connsiteY21" fmla="*/ 735978 h 6867524"/>
              <a:gd name="connsiteX22" fmla="*/ 3902964 w 4814189"/>
              <a:gd name="connsiteY22" fmla="*/ 735978 h 6867524"/>
              <a:gd name="connsiteX23" fmla="*/ 3902964 w 4814189"/>
              <a:gd name="connsiteY23" fmla="*/ 629916 h 6867524"/>
              <a:gd name="connsiteX24" fmla="*/ 3848394 w 4814189"/>
              <a:gd name="connsiteY24" fmla="*/ 574675 h 6867524"/>
              <a:gd name="connsiteX25" fmla="*/ 4041062 w 4814189"/>
              <a:gd name="connsiteY25" fmla="*/ 573088 h 6867524"/>
              <a:gd name="connsiteX26" fmla="*/ 3991063 w 4814189"/>
              <a:gd name="connsiteY26" fmla="*/ 586185 h 6867524"/>
              <a:gd name="connsiteX27" fmla="*/ 3991063 w 4814189"/>
              <a:gd name="connsiteY27" fmla="*/ 575271 h 6867524"/>
              <a:gd name="connsiteX28" fmla="*/ 3941064 w 4814189"/>
              <a:gd name="connsiteY28" fmla="*/ 575271 h 6867524"/>
              <a:gd name="connsiteX29" fmla="*/ 3941064 w 4814189"/>
              <a:gd name="connsiteY29" fmla="*/ 730250 h 6867524"/>
              <a:gd name="connsiteX30" fmla="*/ 3991063 w 4814189"/>
              <a:gd name="connsiteY30" fmla="*/ 730250 h 6867524"/>
              <a:gd name="connsiteX31" fmla="*/ 3991063 w 4814189"/>
              <a:gd name="connsiteY31" fmla="*/ 610196 h 6867524"/>
              <a:gd name="connsiteX32" fmla="*/ 4012802 w 4814189"/>
              <a:gd name="connsiteY32" fmla="*/ 608013 h 6867524"/>
              <a:gd name="connsiteX33" fmla="*/ 4036714 w 4814189"/>
              <a:gd name="connsiteY33" fmla="*/ 623293 h 6867524"/>
              <a:gd name="connsiteX34" fmla="*/ 4036714 w 4814189"/>
              <a:gd name="connsiteY34" fmla="*/ 730250 h 6867524"/>
              <a:gd name="connsiteX35" fmla="*/ 4086714 w 4814189"/>
              <a:gd name="connsiteY35" fmla="*/ 730250 h 6867524"/>
              <a:gd name="connsiteX36" fmla="*/ 4086714 w 4814189"/>
              <a:gd name="connsiteY36" fmla="*/ 621110 h 6867524"/>
              <a:gd name="connsiteX37" fmla="*/ 4084540 w 4814189"/>
              <a:gd name="connsiteY37" fmla="*/ 610196 h 6867524"/>
              <a:gd name="connsiteX38" fmla="*/ 4108452 w 4814189"/>
              <a:gd name="connsiteY38" fmla="*/ 608013 h 6867524"/>
              <a:gd name="connsiteX39" fmla="*/ 4132365 w 4814189"/>
              <a:gd name="connsiteY39" fmla="*/ 623293 h 6867524"/>
              <a:gd name="connsiteX40" fmla="*/ 4132365 w 4814189"/>
              <a:gd name="connsiteY40" fmla="*/ 730250 h 6867524"/>
              <a:gd name="connsiteX41" fmla="*/ 4182364 w 4814189"/>
              <a:gd name="connsiteY41" fmla="*/ 730250 h 6867524"/>
              <a:gd name="connsiteX42" fmla="*/ 4182364 w 4814189"/>
              <a:gd name="connsiteY42" fmla="*/ 621110 h 6867524"/>
              <a:gd name="connsiteX43" fmla="*/ 4136713 w 4814189"/>
              <a:gd name="connsiteY43" fmla="*/ 573088 h 6867524"/>
              <a:gd name="connsiteX44" fmla="*/ 4073670 w 4814189"/>
              <a:gd name="connsiteY44" fmla="*/ 586185 h 6867524"/>
              <a:gd name="connsiteX45" fmla="*/ 4041062 w 4814189"/>
              <a:gd name="connsiteY45" fmla="*/ 573088 h 6867524"/>
              <a:gd name="connsiteX46" fmla="*/ 3588639 w 4814189"/>
              <a:gd name="connsiteY46" fmla="*/ 500063 h 6867524"/>
              <a:gd name="connsiteX47" fmla="*/ 3588639 w 4814189"/>
              <a:gd name="connsiteY47" fmla="*/ 727164 h 6867524"/>
              <a:gd name="connsiteX48" fmla="*/ 3652434 w 4814189"/>
              <a:gd name="connsiteY48" fmla="*/ 738188 h 6867524"/>
              <a:gd name="connsiteX49" fmla="*/ 3742627 w 4814189"/>
              <a:gd name="connsiteY49" fmla="*/ 649994 h 6867524"/>
              <a:gd name="connsiteX50" fmla="*/ 3681032 w 4814189"/>
              <a:gd name="connsiteY50" fmla="*/ 575028 h 6867524"/>
              <a:gd name="connsiteX51" fmla="*/ 3639235 w 4814189"/>
              <a:gd name="connsiteY51" fmla="*/ 588258 h 6867524"/>
              <a:gd name="connsiteX52" fmla="*/ 3639235 w 4814189"/>
              <a:gd name="connsiteY52" fmla="*/ 500063 h 6867524"/>
              <a:gd name="connsiteX53" fmla="*/ 3588639 w 4814189"/>
              <a:gd name="connsiteY53" fmla="*/ 500063 h 6867524"/>
              <a:gd name="connsiteX54" fmla="*/ 3927179 w 4814189"/>
              <a:gd name="connsiteY54" fmla="*/ 0 h 6867524"/>
              <a:gd name="connsiteX55" fmla="*/ 4356989 w 4814189"/>
              <a:gd name="connsiteY55" fmla="*/ 1 h 6867524"/>
              <a:gd name="connsiteX56" fmla="*/ 4356989 w 4814189"/>
              <a:gd name="connsiteY56" fmla="*/ 0 h 6867524"/>
              <a:gd name="connsiteX57" fmla="*/ 4814189 w 4814189"/>
              <a:gd name="connsiteY57" fmla="*/ 0 h 6867524"/>
              <a:gd name="connsiteX58" fmla="*/ 4814189 w 4814189"/>
              <a:gd name="connsiteY58" fmla="*/ 6858000 h 6867524"/>
              <a:gd name="connsiteX59" fmla="*/ 4393184 w 4814189"/>
              <a:gd name="connsiteY59" fmla="*/ 6858000 h 6867524"/>
              <a:gd name="connsiteX60" fmla="*/ 4393184 w 4814189"/>
              <a:gd name="connsiteY60" fmla="*/ 6867524 h 6867524"/>
              <a:gd name="connsiteX61" fmla="*/ 1462191 w 4814189"/>
              <a:gd name="connsiteY61" fmla="*/ 6867524 h 6867524"/>
              <a:gd name="connsiteX62" fmla="*/ 0 w 4814189"/>
              <a:gd name="connsiteY62" fmla="*/ 5745131 h 6867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814189" h="6867524">
                <a:moveTo>
                  <a:pt x="3855339" y="657226"/>
                </a:moveTo>
                <a:cubicBezTo>
                  <a:pt x="3855339" y="700315"/>
                  <a:pt x="3855339" y="700315"/>
                  <a:pt x="3855339" y="700315"/>
                </a:cubicBezTo>
                <a:cubicBezTo>
                  <a:pt x="3853117" y="702583"/>
                  <a:pt x="3846449" y="704851"/>
                  <a:pt x="3837559" y="704851"/>
                </a:cubicBezTo>
                <a:cubicBezTo>
                  <a:pt x="3822001" y="704851"/>
                  <a:pt x="3810889" y="698048"/>
                  <a:pt x="3810889" y="682173"/>
                </a:cubicBezTo>
                <a:cubicBezTo>
                  <a:pt x="3810889" y="668565"/>
                  <a:pt x="3817557" y="659494"/>
                  <a:pt x="3855339" y="657226"/>
                </a:cubicBezTo>
                <a:close/>
                <a:moveTo>
                  <a:pt x="3656394" y="606608"/>
                </a:moveTo>
                <a:cubicBezTo>
                  <a:pt x="3667146" y="607341"/>
                  <a:pt x="3688652" y="614048"/>
                  <a:pt x="3688652" y="655963"/>
                </a:cubicBezTo>
                <a:cubicBezTo>
                  <a:pt x="3688652" y="709614"/>
                  <a:pt x="3645922" y="705143"/>
                  <a:pt x="3645922" y="705143"/>
                </a:cubicBezTo>
                <a:cubicBezTo>
                  <a:pt x="3643673" y="705143"/>
                  <a:pt x="3636926" y="705143"/>
                  <a:pt x="3634677" y="702908"/>
                </a:cubicBezTo>
                <a:cubicBezTo>
                  <a:pt x="3634677" y="609018"/>
                  <a:pt x="3634677" y="609018"/>
                  <a:pt x="3634677" y="609018"/>
                </a:cubicBezTo>
                <a:cubicBezTo>
                  <a:pt x="3641424" y="606783"/>
                  <a:pt x="3650420" y="606783"/>
                  <a:pt x="3650420" y="606783"/>
                </a:cubicBezTo>
                <a:cubicBezTo>
                  <a:pt x="3650420" y="606783"/>
                  <a:pt x="3652809" y="606363"/>
                  <a:pt x="3656394" y="606608"/>
                </a:cubicBezTo>
                <a:close/>
                <a:moveTo>
                  <a:pt x="3848394" y="574675"/>
                </a:moveTo>
                <a:cubicBezTo>
                  <a:pt x="3820017" y="574675"/>
                  <a:pt x="3780727" y="585723"/>
                  <a:pt x="3780727" y="585723"/>
                </a:cubicBezTo>
                <a:cubicBezTo>
                  <a:pt x="3780727" y="610029"/>
                  <a:pt x="3780727" y="610029"/>
                  <a:pt x="3780727" y="610029"/>
                </a:cubicBezTo>
                <a:cubicBezTo>
                  <a:pt x="3780727" y="610029"/>
                  <a:pt x="3798189" y="607820"/>
                  <a:pt x="3826566" y="605610"/>
                </a:cubicBezTo>
                <a:cubicBezTo>
                  <a:pt x="3857125" y="603400"/>
                  <a:pt x="3857125" y="621077"/>
                  <a:pt x="3857125" y="621077"/>
                </a:cubicBezTo>
                <a:cubicBezTo>
                  <a:pt x="3857125" y="638755"/>
                  <a:pt x="3857125" y="638755"/>
                  <a:pt x="3857125" y="638755"/>
                </a:cubicBezTo>
                <a:cubicBezTo>
                  <a:pt x="3846211" y="636545"/>
                  <a:pt x="3763264" y="632126"/>
                  <a:pt x="3767630" y="689576"/>
                </a:cubicBezTo>
                <a:cubicBezTo>
                  <a:pt x="3767630" y="689576"/>
                  <a:pt x="3765447" y="738188"/>
                  <a:pt x="3815651" y="738188"/>
                </a:cubicBezTo>
                <a:cubicBezTo>
                  <a:pt x="3815651" y="738188"/>
                  <a:pt x="3837480" y="738188"/>
                  <a:pt x="3859308" y="724930"/>
                </a:cubicBezTo>
                <a:cubicBezTo>
                  <a:pt x="3859308" y="735978"/>
                  <a:pt x="3859308" y="735978"/>
                  <a:pt x="3859308" y="735978"/>
                </a:cubicBezTo>
                <a:cubicBezTo>
                  <a:pt x="3902964" y="735978"/>
                  <a:pt x="3902964" y="735978"/>
                  <a:pt x="3902964" y="735978"/>
                </a:cubicBezTo>
                <a:cubicBezTo>
                  <a:pt x="3902964" y="735978"/>
                  <a:pt x="3902964" y="676318"/>
                  <a:pt x="3902964" y="629916"/>
                </a:cubicBezTo>
                <a:cubicBezTo>
                  <a:pt x="3902964" y="583514"/>
                  <a:pt x="3874587" y="574675"/>
                  <a:pt x="3848394" y="574675"/>
                </a:cubicBezTo>
                <a:close/>
                <a:moveTo>
                  <a:pt x="4041062" y="573088"/>
                </a:moveTo>
                <a:cubicBezTo>
                  <a:pt x="4023671" y="573088"/>
                  <a:pt x="3999759" y="581819"/>
                  <a:pt x="3991063" y="586185"/>
                </a:cubicBezTo>
                <a:cubicBezTo>
                  <a:pt x="3991063" y="575271"/>
                  <a:pt x="3991063" y="575271"/>
                  <a:pt x="3991063" y="575271"/>
                </a:cubicBezTo>
                <a:cubicBezTo>
                  <a:pt x="3941064" y="575271"/>
                  <a:pt x="3941064" y="575271"/>
                  <a:pt x="3941064" y="575271"/>
                </a:cubicBezTo>
                <a:cubicBezTo>
                  <a:pt x="3941064" y="730250"/>
                  <a:pt x="3941064" y="730250"/>
                  <a:pt x="3941064" y="730250"/>
                </a:cubicBezTo>
                <a:cubicBezTo>
                  <a:pt x="3991063" y="730250"/>
                  <a:pt x="3991063" y="730250"/>
                  <a:pt x="3991063" y="730250"/>
                </a:cubicBezTo>
                <a:cubicBezTo>
                  <a:pt x="3991063" y="610196"/>
                  <a:pt x="3991063" y="610196"/>
                  <a:pt x="3991063" y="610196"/>
                </a:cubicBezTo>
                <a:cubicBezTo>
                  <a:pt x="3997585" y="608013"/>
                  <a:pt x="4012802" y="608013"/>
                  <a:pt x="4012802" y="608013"/>
                </a:cubicBezTo>
                <a:cubicBezTo>
                  <a:pt x="4038888" y="608013"/>
                  <a:pt x="4036714" y="623293"/>
                  <a:pt x="4036714" y="623293"/>
                </a:cubicBezTo>
                <a:cubicBezTo>
                  <a:pt x="4036714" y="730250"/>
                  <a:pt x="4036714" y="730250"/>
                  <a:pt x="4036714" y="730250"/>
                </a:cubicBezTo>
                <a:cubicBezTo>
                  <a:pt x="4086714" y="730250"/>
                  <a:pt x="4086714" y="730250"/>
                  <a:pt x="4086714" y="730250"/>
                </a:cubicBezTo>
                <a:cubicBezTo>
                  <a:pt x="4086714" y="730250"/>
                  <a:pt x="4086714" y="653852"/>
                  <a:pt x="4086714" y="621110"/>
                </a:cubicBezTo>
                <a:cubicBezTo>
                  <a:pt x="4086714" y="616744"/>
                  <a:pt x="4086714" y="612379"/>
                  <a:pt x="4084540" y="610196"/>
                </a:cubicBezTo>
                <a:cubicBezTo>
                  <a:pt x="4095409" y="608013"/>
                  <a:pt x="4108452" y="608013"/>
                  <a:pt x="4108452" y="608013"/>
                </a:cubicBezTo>
                <a:cubicBezTo>
                  <a:pt x="4134539" y="608013"/>
                  <a:pt x="4132365" y="623293"/>
                  <a:pt x="4132365" y="623293"/>
                </a:cubicBezTo>
                <a:cubicBezTo>
                  <a:pt x="4132365" y="730250"/>
                  <a:pt x="4132365" y="730250"/>
                  <a:pt x="4132365" y="730250"/>
                </a:cubicBezTo>
                <a:cubicBezTo>
                  <a:pt x="4182364" y="730250"/>
                  <a:pt x="4182364" y="730250"/>
                  <a:pt x="4182364" y="730250"/>
                </a:cubicBezTo>
                <a:cubicBezTo>
                  <a:pt x="4182364" y="730250"/>
                  <a:pt x="4182364" y="653852"/>
                  <a:pt x="4182364" y="621110"/>
                </a:cubicBezTo>
                <a:cubicBezTo>
                  <a:pt x="4182364" y="586185"/>
                  <a:pt x="4158451" y="573088"/>
                  <a:pt x="4136713" y="573088"/>
                </a:cubicBezTo>
                <a:cubicBezTo>
                  <a:pt x="4108452" y="573088"/>
                  <a:pt x="4080192" y="584002"/>
                  <a:pt x="4073670" y="586185"/>
                </a:cubicBezTo>
                <a:cubicBezTo>
                  <a:pt x="4064975" y="577454"/>
                  <a:pt x="4051932" y="573088"/>
                  <a:pt x="4041062" y="573088"/>
                </a:cubicBezTo>
                <a:close/>
                <a:moveTo>
                  <a:pt x="3588639" y="500063"/>
                </a:moveTo>
                <a:cubicBezTo>
                  <a:pt x="3588639" y="727164"/>
                  <a:pt x="3588639" y="727164"/>
                  <a:pt x="3588639" y="727164"/>
                </a:cubicBezTo>
                <a:cubicBezTo>
                  <a:pt x="3588639" y="727164"/>
                  <a:pt x="3623836" y="738188"/>
                  <a:pt x="3652434" y="738188"/>
                </a:cubicBezTo>
                <a:cubicBezTo>
                  <a:pt x="3681032" y="738188"/>
                  <a:pt x="3742627" y="724959"/>
                  <a:pt x="3742627" y="649994"/>
                </a:cubicBezTo>
                <a:cubicBezTo>
                  <a:pt x="3742627" y="575028"/>
                  <a:pt x="3683232" y="575028"/>
                  <a:pt x="3681032" y="575028"/>
                </a:cubicBezTo>
                <a:cubicBezTo>
                  <a:pt x="3678832" y="575028"/>
                  <a:pt x="3663433" y="575028"/>
                  <a:pt x="3639235" y="588258"/>
                </a:cubicBezTo>
                <a:cubicBezTo>
                  <a:pt x="3639235" y="500063"/>
                  <a:pt x="3639235" y="500063"/>
                  <a:pt x="3639235" y="500063"/>
                </a:cubicBezTo>
                <a:cubicBezTo>
                  <a:pt x="3588639" y="500063"/>
                  <a:pt x="3588639" y="500063"/>
                  <a:pt x="3588639" y="500063"/>
                </a:cubicBezTo>
                <a:close/>
                <a:moveTo>
                  <a:pt x="3927179" y="0"/>
                </a:moveTo>
                <a:lnTo>
                  <a:pt x="4356989" y="1"/>
                </a:lnTo>
                <a:lnTo>
                  <a:pt x="4356989" y="0"/>
                </a:lnTo>
                <a:lnTo>
                  <a:pt x="4814189" y="0"/>
                </a:lnTo>
                <a:lnTo>
                  <a:pt x="4814189" y="6858000"/>
                </a:lnTo>
                <a:lnTo>
                  <a:pt x="4393184" y="6858000"/>
                </a:lnTo>
                <a:lnTo>
                  <a:pt x="4393184" y="6867524"/>
                </a:lnTo>
                <a:lnTo>
                  <a:pt x="1462191" y="6867524"/>
                </a:lnTo>
                <a:lnTo>
                  <a:pt x="0" y="5745131"/>
                </a:lnTo>
                <a:close/>
              </a:path>
            </a:pathLst>
          </a:custGeom>
          <a:gradFill flip="none" rotWithShape="1">
            <a:gsLst>
              <a:gs pos="0">
                <a:schemeClr val="bg1">
                  <a:alpha val="0"/>
                </a:schemeClr>
              </a:gs>
              <a:gs pos="94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nl-NL">
              <a:solidFill>
                <a:srgbClr val="248D37"/>
              </a:solidFill>
            </a:endParaRPr>
          </a:p>
        </p:txBody>
      </p:sp>
      <p:sp>
        <p:nvSpPr>
          <p:cNvPr id="4" name="Tijdelijke aanduiding voor tekst 3">
            <a:extLst>
              <a:ext uri="{FF2B5EF4-FFF2-40B4-BE49-F238E27FC236}">
                <a16:creationId xmlns:a16="http://schemas.microsoft.com/office/drawing/2014/main" id="{48B373E4-EB09-4637-B2B7-5BD0BAB8AFAE}"/>
              </a:ext>
            </a:extLst>
          </p:cNvPr>
          <p:cNvSpPr>
            <a:spLocks noGrp="1"/>
          </p:cNvSpPr>
          <p:nvPr>
            <p:ph type="body" sz="quarter" idx="11"/>
          </p:nvPr>
        </p:nvSpPr>
        <p:spPr>
          <a:xfrm>
            <a:off x="1514475" y="2505075"/>
            <a:ext cx="9010650" cy="1076325"/>
          </a:xfrm>
        </p:spPr>
        <p:txBody>
          <a:bodyPr/>
          <a:lstStyle/>
          <a:p>
            <a:r>
              <a:rPr lang="nl-NL" sz="3600" dirty="0"/>
              <a:t>Materiaal paspoorten en digitale product paspoorten in de bouw</a:t>
            </a:r>
            <a:endParaRPr lang="nl-NL" dirty="0"/>
          </a:p>
          <a:p>
            <a:endParaRPr lang="nl-NL" dirty="0"/>
          </a:p>
        </p:txBody>
      </p:sp>
      <p:sp>
        <p:nvSpPr>
          <p:cNvPr id="5" name="Tijdelijke aanduiding voor tekst 4">
            <a:extLst>
              <a:ext uri="{FF2B5EF4-FFF2-40B4-BE49-F238E27FC236}">
                <a16:creationId xmlns:a16="http://schemas.microsoft.com/office/drawing/2014/main" id="{9483F17B-649B-4894-81AB-15C182BABA90}"/>
              </a:ext>
            </a:extLst>
          </p:cNvPr>
          <p:cNvSpPr>
            <a:spLocks noGrp="1"/>
          </p:cNvSpPr>
          <p:nvPr>
            <p:ph type="body" sz="quarter" idx="12"/>
          </p:nvPr>
        </p:nvSpPr>
        <p:spPr>
          <a:xfrm>
            <a:off x="1514475" y="4972894"/>
            <a:ext cx="9010650" cy="1427906"/>
          </a:xfrm>
        </p:spPr>
        <p:txBody>
          <a:bodyPr/>
          <a:lstStyle/>
          <a:p>
            <a:r>
              <a:rPr lang="nl-NL" sz="2000" dirty="0"/>
              <a:t>Janneke Bosma</a:t>
            </a:r>
            <a:br>
              <a:rPr lang="nl-NL" sz="2000" dirty="0"/>
            </a:br>
            <a:r>
              <a:rPr lang="nl-NL" sz="2000" dirty="0"/>
              <a:t>jambosma@gmail.com</a:t>
            </a:r>
            <a:br>
              <a:rPr lang="nl-NL" sz="2000" dirty="0"/>
            </a:br>
            <a:r>
              <a:rPr lang="nl-NL" sz="2000" dirty="0"/>
              <a:t>Construction Management &amp; Engineering </a:t>
            </a:r>
            <a:br>
              <a:rPr lang="nl-NL" sz="2000" dirty="0"/>
            </a:br>
            <a:endParaRPr lang="nl-NL" dirty="0"/>
          </a:p>
        </p:txBody>
      </p:sp>
    </p:spTree>
    <p:extLst>
      <p:ext uri="{BB962C8B-B14F-4D97-AF65-F5344CB8AC3E}">
        <p14:creationId xmlns:p14="http://schemas.microsoft.com/office/powerpoint/2010/main" val="37696733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Wat is SHACL ?</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914978" y="1292988"/>
            <a:ext cx="10164539" cy="5124480"/>
          </a:xfrm>
          <a:prstGeom prst="rect">
            <a:avLst/>
          </a:prstGeom>
          <a:noFill/>
        </p:spPr>
        <p:txBody>
          <a:bodyPr wrap="square" rtlCol="0">
            <a:spAutoFit/>
          </a:bodyPr>
          <a:lstStyle/>
          <a:p>
            <a:pPr algn="l"/>
            <a:r>
              <a:rPr lang="nl-NL" sz="1400" b="0" i="0" dirty="0">
                <a:solidFill>
                  <a:srgbClr val="0D0D0D"/>
                </a:solidFill>
                <a:effectLst/>
                <a:latin typeface="Söhne"/>
              </a:rPr>
              <a:t>Stel dat we een RDF-dataset hebben die informatie bevat over verschillende huisdieren, waaronder katten. We willen een SHACL-schema maken om te valideren of de katteninformatie correct is opgesteld, inclusief de aanwezigheid van de naam en leeftijd van de kat.</a:t>
            </a:r>
          </a:p>
          <a:p>
            <a:pPr algn="l"/>
            <a:r>
              <a:rPr lang="nl-NL" sz="1400" b="0" i="0" dirty="0">
                <a:solidFill>
                  <a:srgbClr val="0D0D0D"/>
                </a:solidFill>
                <a:effectLst/>
                <a:latin typeface="Söhne"/>
              </a:rPr>
              <a:t>Hier is een eenvoudig SHACL-schema voor dit doel:</a:t>
            </a:r>
          </a:p>
          <a:p>
            <a:pPr algn="l"/>
            <a:r>
              <a:rPr lang="nl-NL" sz="1100" b="0" i="0" dirty="0">
                <a:solidFill>
                  <a:srgbClr val="FF0000"/>
                </a:solidFill>
                <a:effectLst/>
                <a:latin typeface="Söhne"/>
              </a:rPr>
              <a:t>@prefix </a:t>
            </a:r>
            <a:r>
              <a:rPr lang="nl-NL" sz="1100" b="0" i="0" dirty="0" err="1">
                <a:solidFill>
                  <a:srgbClr val="FF0000"/>
                </a:solidFill>
                <a:effectLst/>
                <a:latin typeface="Söhne"/>
              </a:rPr>
              <a:t>rdf</a:t>
            </a:r>
            <a:r>
              <a:rPr lang="nl-NL" sz="1100" b="0" i="0" dirty="0">
                <a:solidFill>
                  <a:srgbClr val="FF0000"/>
                </a:solidFill>
                <a:effectLst/>
                <a:latin typeface="Söhne"/>
              </a:rPr>
              <a:t>: &lt;http://www.w3.org/1999/02/22-rdf-syntax-ns#&gt; .</a:t>
            </a:r>
          </a:p>
          <a:p>
            <a:pPr algn="l"/>
            <a:r>
              <a:rPr lang="nl-NL" sz="1100" b="0" i="0" dirty="0">
                <a:solidFill>
                  <a:srgbClr val="FF0000"/>
                </a:solidFill>
                <a:effectLst/>
                <a:latin typeface="Söhne"/>
              </a:rPr>
              <a:t>@prefix </a:t>
            </a:r>
            <a:r>
              <a:rPr lang="nl-NL" sz="1100" b="0" i="0" dirty="0" err="1">
                <a:solidFill>
                  <a:srgbClr val="FF0000"/>
                </a:solidFill>
                <a:effectLst/>
                <a:latin typeface="Söhne"/>
              </a:rPr>
              <a:t>rdfs</a:t>
            </a:r>
            <a:r>
              <a:rPr lang="nl-NL" sz="1100" b="0" i="0" dirty="0">
                <a:solidFill>
                  <a:srgbClr val="FF0000"/>
                </a:solidFill>
                <a:effectLst/>
                <a:latin typeface="Söhne"/>
              </a:rPr>
              <a:t>: &lt;http://www.w3.org/2000/01/rdf-schema#&gt; .</a:t>
            </a:r>
          </a:p>
          <a:p>
            <a:pPr algn="l"/>
            <a:r>
              <a:rPr lang="nl-NL" sz="1100" b="0" i="0" dirty="0">
                <a:solidFill>
                  <a:srgbClr val="FF0000"/>
                </a:solidFill>
                <a:effectLst/>
                <a:latin typeface="Söhne"/>
              </a:rPr>
              <a:t>@prefix ex: &lt;http://example.org/&gt; .</a:t>
            </a:r>
          </a:p>
          <a:p>
            <a:pPr algn="l"/>
            <a:r>
              <a:rPr lang="nl-NL" sz="1100" b="0" i="0" dirty="0">
                <a:solidFill>
                  <a:srgbClr val="FF0000"/>
                </a:solidFill>
                <a:effectLst/>
                <a:latin typeface="Söhne"/>
              </a:rPr>
              <a:t>@prefix sh: &lt;http://www.w3.org/ns/shacl#&gt; .</a:t>
            </a:r>
          </a:p>
          <a:p>
            <a:pPr algn="l"/>
            <a:endParaRPr lang="nl-NL" sz="1100" b="0" i="0" dirty="0">
              <a:solidFill>
                <a:srgbClr val="FF0000"/>
              </a:solidFill>
              <a:effectLst/>
              <a:latin typeface="Söhne"/>
            </a:endParaRPr>
          </a:p>
          <a:p>
            <a:pPr algn="l"/>
            <a:r>
              <a:rPr lang="nl-NL" sz="1100" b="0" i="0" dirty="0" err="1">
                <a:solidFill>
                  <a:srgbClr val="FF0000"/>
                </a:solidFill>
                <a:effectLst/>
                <a:latin typeface="Söhne"/>
              </a:rPr>
              <a:t>ex:CatShape</a:t>
            </a:r>
            <a:endParaRPr lang="nl-NL" sz="1100" b="0" i="0" dirty="0">
              <a:solidFill>
                <a:srgbClr val="FF0000"/>
              </a:solidFill>
              <a:effectLst/>
              <a:latin typeface="Söhne"/>
            </a:endParaRPr>
          </a:p>
          <a:p>
            <a:pPr algn="l"/>
            <a:r>
              <a:rPr lang="nl-NL" sz="1100" b="0" i="0" dirty="0">
                <a:solidFill>
                  <a:srgbClr val="FF0000"/>
                </a:solidFill>
                <a:effectLst/>
                <a:latin typeface="Söhne"/>
              </a:rPr>
              <a:t>  a </a:t>
            </a:r>
            <a:r>
              <a:rPr lang="nl-NL" sz="1100" b="0" i="0" dirty="0" err="1">
                <a:solidFill>
                  <a:srgbClr val="FF0000"/>
                </a:solidFill>
                <a:effectLst/>
                <a:latin typeface="Söhne"/>
              </a:rPr>
              <a:t>sh:NodeShape</a:t>
            </a:r>
            <a:r>
              <a:rPr lang="nl-NL" sz="1100" b="0" i="0" dirty="0">
                <a:solidFill>
                  <a:srgbClr val="FF0000"/>
                </a:solidFill>
                <a:effectLst/>
                <a:latin typeface="Söhne"/>
              </a:rPr>
              <a:t> ;</a:t>
            </a:r>
          </a:p>
          <a:p>
            <a:pPr algn="l"/>
            <a:r>
              <a:rPr lang="nl-NL" sz="1100" b="0" i="0" dirty="0">
                <a:solidFill>
                  <a:srgbClr val="FF0000"/>
                </a:solidFill>
                <a:effectLst/>
                <a:latin typeface="Söhne"/>
              </a:rPr>
              <a:t>  </a:t>
            </a:r>
            <a:r>
              <a:rPr lang="nl-NL" sz="1100" b="0" i="0" dirty="0" err="1">
                <a:solidFill>
                  <a:srgbClr val="FF0000"/>
                </a:solidFill>
                <a:effectLst/>
                <a:latin typeface="Söhne"/>
              </a:rPr>
              <a:t>sh:targetClass</a:t>
            </a:r>
            <a:r>
              <a:rPr lang="nl-NL" sz="1100" b="0" i="0" dirty="0">
                <a:solidFill>
                  <a:srgbClr val="FF0000"/>
                </a:solidFill>
                <a:effectLst/>
                <a:latin typeface="Söhne"/>
              </a:rPr>
              <a:t> </a:t>
            </a:r>
            <a:r>
              <a:rPr lang="nl-NL" sz="1100" b="0" i="0" dirty="0" err="1">
                <a:solidFill>
                  <a:srgbClr val="FF0000"/>
                </a:solidFill>
                <a:effectLst/>
                <a:latin typeface="Söhne"/>
              </a:rPr>
              <a:t>ex:Cat</a:t>
            </a:r>
            <a:r>
              <a:rPr lang="nl-NL" sz="1100" b="0" i="0" dirty="0">
                <a:solidFill>
                  <a:srgbClr val="FF0000"/>
                </a:solidFill>
                <a:effectLst/>
                <a:latin typeface="Söhne"/>
              </a:rPr>
              <a:t> ;</a:t>
            </a:r>
          </a:p>
          <a:p>
            <a:pPr algn="l"/>
            <a:r>
              <a:rPr lang="nl-NL" sz="1100" b="0" i="0" dirty="0">
                <a:solidFill>
                  <a:srgbClr val="FF0000"/>
                </a:solidFill>
                <a:effectLst/>
                <a:latin typeface="Söhne"/>
              </a:rPr>
              <a:t>  </a:t>
            </a:r>
            <a:r>
              <a:rPr lang="nl-NL" sz="1100" b="0" i="0" dirty="0" err="1">
                <a:solidFill>
                  <a:srgbClr val="FF0000"/>
                </a:solidFill>
                <a:effectLst/>
                <a:latin typeface="Söhne"/>
              </a:rPr>
              <a:t>sh:property</a:t>
            </a:r>
            <a:r>
              <a:rPr lang="nl-NL" sz="1100" b="0" i="0" dirty="0">
                <a:solidFill>
                  <a:srgbClr val="FF0000"/>
                </a:solidFill>
                <a:effectLst/>
                <a:latin typeface="Söhne"/>
              </a:rPr>
              <a:t> [</a:t>
            </a:r>
          </a:p>
          <a:p>
            <a:pPr algn="l"/>
            <a:r>
              <a:rPr lang="nl-NL" sz="1100" b="0" i="0" dirty="0">
                <a:solidFill>
                  <a:srgbClr val="FF0000"/>
                </a:solidFill>
                <a:effectLst/>
                <a:latin typeface="Söhne"/>
              </a:rPr>
              <a:t>    </a:t>
            </a:r>
            <a:r>
              <a:rPr lang="nl-NL" sz="1100" b="0" i="0" dirty="0" err="1">
                <a:solidFill>
                  <a:srgbClr val="FF0000"/>
                </a:solidFill>
                <a:effectLst/>
                <a:latin typeface="Söhne"/>
              </a:rPr>
              <a:t>sh:path</a:t>
            </a:r>
            <a:r>
              <a:rPr lang="nl-NL" sz="1100" b="0" i="0" dirty="0">
                <a:solidFill>
                  <a:srgbClr val="FF0000"/>
                </a:solidFill>
                <a:effectLst/>
                <a:latin typeface="Söhne"/>
              </a:rPr>
              <a:t> </a:t>
            </a:r>
            <a:r>
              <a:rPr lang="nl-NL" sz="1100" b="0" i="0" dirty="0" err="1">
                <a:solidFill>
                  <a:srgbClr val="FF0000"/>
                </a:solidFill>
                <a:effectLst/>
                <a:latin typeface="Söhne"/>
              </a:rPr>
              <a:t>ex:hasName</a:t>
            </a:r>
            <a:r>
              <a:rPr lang="nl-NL" sz="1100" b="0" i="0" dirty="0">
                <a:solidFill>
                  <a:srgbClr val="FF0000"/>
                </a:solidFill>
                <a:effectLst/>
                <a:latin typeface="Söhne"/>
              </a:rPr>
              <a:t> ;</a:t>
            </a:r>
          </a:p>
          <a:p>
            <a:pPr algn="l"/>
            <a:r>
              <a:rPr lang="nl-NL" sz="1100" b="0" i="0" dirty="0">
                <a:solidFill>
                  <a:srgbClr val="FF0000"/>
                </a:solidFill>
                <a:effectLst/>
                <a:latin typeface="Söhne"/>
              </a:rPr>
              <a:t>    </a:t>
            </a:r>
            <a:r>
              <a:rPr lang="nl-NL" sz="1100" b="0" i="0" dirty="0" err="1">
                <a:solidFill>
                  <a:srgbClr val="FF0000"/>
                </a:solidFill>
                <a:effectLst/>
                <a:latin typeface="Söhne"/>
              </a:rPr>
              <a:t>sh:minCount</a:t>
            </a:r>
            <a:r>
              <a:rPr lang="nl-NL" sz="1100" b="0" i="0" dirty="0">
                <a:solidFill>
                  <a:srgbClr val="FF0000"/>
                </a:solidFill>
                <a:effectLst/>
                <a:latin typeface="Söhne"/>
              </a:rPr>
              <a:t> 1 ;</a:t>
            </a:r>
          </a:p>
          <a:p>
            <a:pPr algn="l"/>
            <a:r>
              <a:rPr lang="nl-NL" sz="1100" b="0" i="0" dirty="0">
                <a:solidFill>
                  <a:srgbClr val="FF0000"/>
                </a:solidFill>
                <a:effectLst/>
                <a:latin typeface="Söhne"/>
              </a:rPr>
              <a:t>  ] ;</a:t>
            </a:r>
          </a:p>
          <a:p>
            <a:pPr algn="l"/>
            <a:r>
              <a:rPr lang="nl-NL" sz="1100" b="0" i="0" dirty="0">
                <a:solidFill>
                  <a:srgbClr val="FF0000"/>
                </a:solidFill>
                <a:effectLst/>
                <a:latin typeface="Söhne"/>
              </a:rPr>
              <a:t>  </a:t>
            </a:r>
            <a:r>
              <a:rPr lang="nl-NL" sz="1100" b="0" i="0" dirty="0" err="1">
                <a:solidFill>
                  <a:srgbClr val="FF0000"/>
                </a:solidFill>
                <a:effectLst/>
                <a:latin typeface="Söhne"/>
              </a:rPr>
              <a:t>sh:property</a:t>
            </a:r>
            <a:r>
              <a:rPr lang="nl-NL" sz="1100" b="0" i="0" dirty="0">
                <a:solidFill>
                  <a:srgbClr val="FF0000"/>
                </a:solidFill>
                <a:effectLst/>
                <a:latin typeface="Söhne"/>
              </a:rPr>
              <a:t> [</a:t>
            </a:r>
          </a:p>
          <a:p>
            <a:pPr algn="l"/>
            <a:r>
              <a:rPr lang="nl-NL" sz="1100" b="0" i="0" dirty="0">
                <a:solidFill>
                  <a:srgbClr val="FF0000"/>
                </a:solidFill>
                <a:effectLst/>
                <a:latin typeface="Söhne"/>
              </a:rPr>
              <a:t>    </a:t>
            </a:r>
            <a:r>
              <a:rPr lang="nl-NL" sz="1100" b="0" i="0" dirty="0" err="1">
                <a:solidFill>
                  <a:srgbClr val="FF0000"/>
                </a:solidFill>
                <a:effectLst/>
                <a:latin typeface="Söhne"/>
              </a:rPr>
              <a:t>sh:path</a:t>
            </a:r>
            <a:r>
              <a:rPr lang="nl-NL" sz="1100" b="0" i="0" dirty="0">
                <a:solidFill>
                  <a:srgbClr val="FF0000"/>
                </a:solidFill>
                <a:effectLst/>
                <a:latin typeface="Söhne"/>
              </a:rPr>
              <a:t> </a:t>
            </a:r>
            <a:r>
              <a:rPr lang="nl-NL" sz="1100" b="0" i="0" dirty="0" err="1">
                <a:solidFill>
                  <a:srgbClr val="FF0000"/>
                </a:solidFill>
                <a:effectLst/>
                <a:latin typeface="Söhne"/>
              </a:rPr>
              <a:t>ex:hasAge</a:t>
            </a:r>
            <a:r>
              <a:rPr lang="nl-NL" sz="1100" b="0" i="0" dirty="0">
                <a:solidFill>
                  <a:srgbClr val="FF0000"/>
                </a:solidFill>
                <a:effectLst/>
                <a:latin typeface="Söhne"/>
              </a:rPr>
              <a:t> ;</a:t>
            </a:r>
          </a:p>
          <a:p>
            <a:pPr algn="l"/>
            <a:r>
              <a:rPr lang="nl-NL" sz="1100" b="0" i="0" dirty="0">
                <a:solidFill>
                  <a:srgbClr val="FF0000"/>
                </a:solidFill>
                <a:effectLst/>
                <a:latin typeface="Söhne"/>
              </a:rPr>
              <a:t>    </a:t>
            </a:r>
            <a:r>
              <a:rPr lang="nl-NL" sz="1100" b="0" i="0" dirty="0" err="1">
                <a:solidFill>
                  <a:srgbClr val="FF0000"/>
                </a:solidFill>
                <a:effectLst/>
                <a:latin typeface="Söhne"/>
              </a:rPr>
              <a:t>sh:minCount</a:t>
            </a:r>
            <a:r>
              <a:rPr lang="nl-NL" sz="1100" b="0" i="0" dirty="0">
                <a:solidFill>
                  <a:srgbClr val="FF0000"/>
                </a:solidFill>
                <a:effectLst/>
                <a:latin typeface="Söhne"/>
              </a:rPr>
              <a:t> 1 ;</a:t>
            </a:r>
          </a:p>
          <a:p>
            <a:pPr algn="l"/>
            <a:r>
              <a:rPr lang="nl-NL" sz="1100" b="0" i="0" dirty="0">
                <a:solidFill>
                  <a:srgbClr val="FF0000"/>
                </a:solidFill>
                <a:effectLst/>
                <a:latin typeface="Söhne"/>
              </a:rPr>
              <a:t>    </a:t>
            </a:r>
            <a:r>
              <a:rPr lang="nl-NL" sz="1100" b="0" i="0" dirty="0" err="1">
                <a:solidFill>
                  <a:srgbClr val="FF0000"/>
                </a:solidFill>
                <a:effectLst/>
                <a:latin typeface="Söhne"/>
              </a:rPr>
              <a:t>sh:datatype</a:t>
            </a:r>
            <a:r>
              <a:rPr lang="nl-NL" sz="1100" b="0" i="0" dirty="0">
                <a:solidFill>
                  <a:srgbClr val="FF0000"/>
                </a:solidFill>
                <a:effectLst/>
                <a:latin typeface="Söhne"/>
              </a:rPr>
              <a:t> </a:t>
            </a:r>
            <a:r>
              <a:rPr lang="nl-NL" sz="1100" b="0" i="0" dirty="0" err="1">
                <a:solidFill>
                  <a:srgbClr val="FF0000"/>
                </a:solidFill>
                <a:effectLst/>
                <a:latin typeface="Söhne"/>
              </a:rPr>
              <a:t>xsd:integer</a:t>
            </a:r>
            <a:r>
              <a:rPr lang="nl-NL" sz="1100" b="0" i="0" dirty="0">
                <a:solidFill>
                  <a:srgbClr val="FF0000"/>
                </a:solidFill>
                <a:effectLst/>
                <a:latin typeface="Söhne"/>
              </a:rPr>
              <a:t> ;</a:t>
            </a:r>
          </a:p>
          <a:p>
            <a:pPr algn="l"/>
            <a:r>
              <a:rPr lang="nl-NL" sz="1100" b="0" i="0" dirty="0">
                <a:solidFill>
                  <a:srgbClr val="FF0000"/>
                </a:solidFill>
                <a:effectLst/>
                <a:latin typeface="Söhne"/>
              </a:rPr>
              <a:t>  ] .</a:t>
            </a:r>
          </a:p>
          <a:p>
            <a:pPr algn="l"/>
            <a:endParaRPr lang="nl-NL" sz="1400" dirty="0">
              <a:solidFill>
                <a:srgbClr val="0D0D0D"/>
              </a:solidFill>
              <a:latin typeface="Söhne"/>
            </a:endParaRPr>
          </a:p>
          <a:p>
            <a:pPr algn="l"/>
            <a:r>
              <a:rPr lang="nl-NL" sz="1400" dirty="0">
                <a:solidFill>
                  <a:srgbClr val="0D0D0D"/>
                </a:solidFill>
                <a:latin typeface="Söhne"/>
              </a:rPr>
              <a:t>In dit SHACL-schema definiëren we een </a:t>
            </a:r>
            <a:r>
              <a:rPr lang="nl-NL" sz="1400" dirty="0" err="1">
                <a:solidFill>
                  <a:srgbClr val="0D0D0D"/>
                </a:solidFill>
                <a:latin typeface="Söhne"/>
              </a:rPr>
              <a:t>shape</a:t>
            </a:r>
            <a:r>
              <a:rPr lang="nl-NL" sz="1400" dirty="0">
                <a:solidFill>
                  <a:srgbClr val="0D0D0D"/>
                </a:solidFill>
                <a:latin typeface="Söhne"/>
              </a:rPr>
              <a:t> genaamd `</a:t>
            </a:r>
            <a:r>
              <a:rPr lang="nl-NL" sz="1400" dirty="0" err="1">
                <a:solidFill>
                  <a:srgbClr val="0D0D0D"/>
                </a:solidFill>
                <a:latin typeface="Söhne"/>
              </a:rPr>
              <a:t>ex:CatShape</a:t>
            </a:r>
            <a:r>
              <a:rPr lang="nl-NL" sz="1400" dirty="0">
                <a:solidFill>
                  <a:srgbClr val="0D0D0D"/>
                </a:solidFill>
                <a:latin typeface="Söhne"/>
              </a:rPr>
              <a:t>`, die van toepassing is op alle instanties van de klasse `</a:t>
            </a:r>
            <a:r>
              <a:rPr lang="nl-NL" sz="1400" dirty="0" err="1">
                <a:solidFill>
                  <a:srgbClr val="0D0D0D"/>
                </a:solidFill>
                <a:latin typeface="Söhne"/>
              </a:rPr>
              <a:t>ex:Cat</a:t>
            </a:r>
            <a:r>
              <a:rPr lang="nl-NL" sz="1400" dirty="0">
                <a:solidFill>
                  <a:srgbClr val="0D0D0D"/>
                </a:solidFill>
                <a:latin typeface="Söhne"/>
              </a:rPr>
              <a:t>`. De </a:t>
            </a:r>
            <a:r>
              <a:rPr lang="nl-NL" sz="1400" dirty="0" err="1">
                <a:solidFill>
                  <a:srgbClr val="0D0D0D"/>
                </a:solidFill>
                <a:latin typeface="Söhne"/>
              </a:rPr>
              <a:t>shape</a:t>
            </a:r>
            <a:r>
              <a:rPr lang="nl-NL" sz="1400" dirty="0">
                <a:solidFill>
                  <a:srgbClr val="0D0D0D"/>
                </a:solidFill>
                <a:latin typeface="Söhne"/>
              </a:rPr>
              <a:t> specificeert dat een kat ten minste één naam en één leeftijd moet hebben. Ook hebben we aangegeven dat de leeftijd een integer moet zijn. Nu kunnen we dit SHACL-schema gebruiken om onze RDF-dataset te valideren en te controleren of de katteninformatie correct is gestructureerd volgens deze regels.</a:t>
            </a:r>
          </a:p>
          <a:p>
            <a:pPr algn="l"/>
            <a:endParaRPr lang="nl-NL" sz="1400" b="0" i="0" dirty="0">
              <a:solidFill>
                <a:srgbClr val="0D0D0D"/>
              </a:solidFill>
              <a:effectLst/>
              <a:latin typeface="Söhne"/>
            </a:endParaRPr>
          </a:p>
          <a:p>
            <a:pPr algn="l"/>
            <a:endParaRPr lang="nl-NL" sz="1400" b="0" i="0" dirty="0">
              <a:solidFill>
                <a:srgbClr val="0D0D0D"/>
              </a:solidFill>
              <a:effectLst/>
              <a:latin typeface="Söhne"/>
            </a:endParaRPr>
          </a:p>
        </p:txBody>
      </p:sp>
      <p:sp>
        <p:nvSpPr>
          <p:cNvPr id="3" name="Tijdelijke aanduiding voor inhoud 6">
            <a:extLst>
              <a:ext uri="{FF2B5EF4-FFF2-40B4-BE49-F238E27FC236}">
                <a16:creationId xmlns:a16="http://schemas.microsoft.com/office/drawing/2014/main" id="{6D4D8CBC-C048-05BA-A92A-FF4531F28891}"/>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pic>
        <p:nvPicPr>
          <p:cNvPr id="6" name="Afbeelding 5">
            <a:extLst>
              <a:ext uri="{FF2B5EF4-FFF2-40B4-BE49-F238E27FC236}">
                <a16:creationId xmlns:a16="http://schemas.microsoft.com/office/drawing/2014/main" id="{C6FAF7E2-05C4-9E3C-5CA1-329D1966DD67}"/>
              </a:ext>
            </a:extLst>
          </p:cNvPr>
          <p:cNvPicPr>
            <a:picLocks noChangeAspect="1"/>
          </p:cNvPicPr>
          <p:nvPr/>
        </p:nvPicPr>
        <p:blipFill>
          <a:blip r:embed="rId3"/>
          <a:stretch>
            <a:fillRect/>
          </a:stretch>
        </p:blipFill>
        <p:spPr>
          <a:xfrm>
            <a:off x="2960914" y="3288093"/>
            <a:ext cx="1982992" cy="1603270"/>
          </a:xfrm>
          <a:prstGeom prst="rect">
            <a:avLst/>
          </a:prstGeom>
        </p:spPr>
      </p:pic>
    </p:spTree>
    <p:extLst>
      <p:ext uri="{BB962C8B-B14F-4D97-AF65-F5344CB8AC3E}">
        <p14:creationId xmlns:p14="http://schemas.microsoft.com/office/powerpoint/2010/main" val="653031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Wat is Python ?</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914978" y="1292988"/>
            <a:ext cx="10164539" cy="4739759"/>
          </a:xfrm>
          <a:prstGeom prst="rect">
            <a:avLst/>
          </a:prstGeom>
          <a:noFill/>
        </p:spPr>
        <p:txBody>
          <a:bodyPr wrap="square" rtlCol="0">
            <a:spAutoFit/>
          </a:bodyPr>
          <a:lstStyle/>
          <a:p>
            <a:pPr algn="l"/>
            <a:r>
              <a:rPr lang="nl-NL" sz="1200" b="0" i="0" dirty="0">
                <a:solidFill>
                  <a:srgbClr val="0D0D0D"/>
                </a:solidFill>
                <a:effectLst/>
                <a:latin typeface="Söhne"/>
              </a:rPr>
              <a:t>Python is een veelgebruikte programmeertaal die bekend staat om zijn eenvoud, leesbaarheid en veelzijdigheid. Het is een open-source programmeertaal met een brede acceptatie in verschillende domeinen, zoals </a:t>
            </a:r>
            <a:r>
              <a:rPr lang="nl-NL" sz="1200" b="0" i="0" dirty="0" err="1">
                <a:solidFill>
                  <a:srgbClr val="0D0D0D"/>
                </a:solidFill>
                <a:effectLst/>
                <a:latin typeface="Söhne"/>
              </a:rPr>
              <a:t>webontwikkeling</a:t>
            </a:r>
            <a:r>
              <a:rPr lang="nl-NL" sz="1200" b="0" i="0" dirty="0">
                <a:solidFill>
                  <a:srgbClr val="0D0D0D"/>
                </a:solidFill>
                <a:effectLst/>
                <a:latin typeface="Söhne"/>
              </a:rPr>
              <a:t>, data-analyse, kunstmatige intelligentie, wetenschappelijk onderzoek, systeemautomatisering en meer.</a:t>
            </a:r>
          </a:p>
          <a:p>
            <a:pPr algn="l"/>
            <a:endParaRPr lang="nl-NL" sz="1200" b="0" i="0" dirty="0">
              <a:solidFill>
                <a:srgbClr val="0D0D0D"/>
              </a:solidFill>
              <a:effectLst/>
              <a:latin typeface="Söhne"/>
            </a:endParaRPr>
          </a:p>
          <a:p>
            <a:pPr algn="l"/>
            <a:r>
              <a:rPr lang="nl-NL" sz="1200" b="0" i="0" dirty="0">
                <a:solidFill>
                  <a:srgbClr val="0D0D0D"/>
                </a:solidFill>
                <a:effectLst/>
                <a:latin typeface="Söhne"/>
              </a:rPr>
              <a:t>Enkele kenmerken van Python zijn:</a:t>
            </a:r>
          </a:p>
          <a:p>
            <a:pPr algn="l"/>
            <a:endParaRPr lang="nl-NL" sz="1200" b="0" i="0" dirty="0">
              <a:solidFill>
                <a:srgbClr val="0D0D0D"/>
              </a:solidFill>
              <a:effectLst/>
              <a:latin typeface="Söhne"/>
            </a:endParaRPr>
          </a:p>
          <a:p>
            <a:pPr algn="l"/>
            <a:r>
              <a:rPr lang="nl-NL" sz="1200" b="0" i="0" dirty="0">
                <a:solidFill>
                  <a:srgbClr val="0D0D0D"/>
                </a:solidFill>
                <a:effectLst/>
                <a:latin typeface="Söhne"/>
              </a:rPr>
              <a:t>1. **Eenvoudig te leren**: Python heeft een eenvoudige en duidelijke syntaxis die lijkt op natuurlijke taal, waardoor het gemakkelijk te leren en te begrijpen is voor zowel beginners als ervaren ontwikkelaars.</a:t>
            </a:r>
          </a:p>
          <a:p>
            <a:pPr algn="l"/>
            <a:endParaRPr lang="nl-NL" sz="1200" b="0" i="0" dirty="0">
              <a:solidFill>
                <a:srgbClr val="0D0D0D"/>
              </a:solidFill>
              <a:effectLst/>
              <a:latin typeface="Söhne"/>
            </a:endParaRPr>
          </a:p>
          <a:p>
            <a:pPr algn="l"/>
            <a:r>
              <a:rPr lang="nl-NL" sz="1200" b="0" i="0" dirty="0">
                <a:solidFill>
                  <a:srgbClr val="0D0D0D"/>
                </a:solidFill>
                <a:effectLst/>
                <a:latin typeface="Söhne"/>
              </a:rPr>
              <a:t>2. **Expressieve taal**: Python moedigt een minimalistische en duidelijke programmeerstijl aan, waardoor ontwikkelaars complexe taken kunnen uitvoeren met minder code.</a:t>
            </a:r>
          </a:p>
          <a:p>
            <a:pPr algn="l"/>
            <a:endParaRPr lang="nl-NL" sz="1200" b="0" i="0" dirty="0">
              <a:solidFill>
                <a:srgbClr val="0D0D0D"/>
              </a:solidFill>
              <a:effectLst/>
              <a:latin typeface="Söhne"/>
            </a:endParaRPr>
          </a:p>
          <a:p>
            <a:pPr algn="l"/>
            <a:r>
              <a:rPr lang="nl-NL" sz="1200" b="0" i="0" dirty="0">
                <a:solidFill>
                  <a:srgbClr val="0D0D0D"/>
                </a:solidFill>
                <a:effectLst/>
                <a:latin typeface="Söhne"/>
              </a:rPr>
              <a:t>3. **Grote standaardbibliotheek**: Python wordt geleverd met een uitgebreide standaardbibliotheek die een breed scala aan functionaliteiten biedt, variërend van bestandsbewerking, netwerkcommunicatie, en reguliere expressies tot datastructuuroperaties, wat de ontwikkeling versnelt en vereenvoudigt.</a:t>
            </a:r>
          </a:p>
          <a:p>
            <a:pPr algn="l"/>
            <a:endParaRPr lang="nl-NL" sz="1200" b="0" i="0" dirty="0">
              <a:solidFill>
                <a:srgbClr val="0D0D0D"/>
              </a:solidFill>
              <a:effectLst/>
              <a:latin typeface="Söhne"/>
            </a:endParaRPr>
          </a:p>
          <a:p>
            <a:pPr algn="l"/>
            <a:r>
              <a:rPr lang="nl-NL" sz="1200" b="0" i="0" dirty="0">
                <a:solidFill>
                  <a:srgbClr val="0D0D0D"/>
                </a:solidFill>
                <a:effectLst/>
                <a:latin typeface="Söhne"/>
              </a:rPr>
              <a:t>4. **Veelzijdigheid**: Python wordt gebruikt in diverse toepassingsgebieden, waaronder </a:t>
            </a:r>
            <a:r>
              <a:rPr lang="nl-NL" sz="1200" b="0" i="0" dirty="0" err="1">
                <a:solidFill>
                  <a:srgbClr val="0D0D0D"/>
                </a:solidFill>
                <a:effectLst/>
                <a:latin typeface="Söhne"/>
              </a:rPr>
              <a:t>webontwikkeling</a:t>
            </a:r>
            <a:r>
              <a:rPr lang="nl-NL" sz="1200" b="0" i="0" dirty="0">
                <a:solidFill>
                  <a:srgbClr val="0D0D0D"/>
                </a:solidFill>
                <a:effectLst/>
                <a:latin typeface="Söhne"/>
              </a:rPr>
              <a:t> met </a:t>
            </a:r>
            <a:r>
              <a:rPr lang="nl-NL" sz="1200" b="0" i="0" dirty="0" err="1">
                <a:solidFill>
                  <a:srgbClr val="0D0D0D"/>
                </a:solidFill>
                <a:effectLst/>
                <a:latin typeface="Söhne"/>
              </a:rPr>
              <a:t>frameworks</a:t>
            </a:r>
            <a:r>
              <a:rPr lang="nl-NL" sz="1200" b="0" i="0" dirty="0">
                <a:solidFill>
                  <a:srgbClr val="0D0D0D"/>
                </a:solidFill>
                <a:effectLst/>
                <a:latin typeface="Söhne"/>
              </a:rPr>
              <a:t> zoals Django en </a:t>
            </a:r>
            <a:r>
              <a:rPr lang="nl-NL" sz="1200" b="0" i="0" dirty="0" err="1">
                <a:solidFill>
                  <a:srgbClr val="0D0D0D"/>
                </a:solidFill>
                <a:effectLst/>
                <a:latin typeface="Söhne"/>
              </a:rPr>
              <a:t>Flask</a:t>
            </a:r>
            <a:r>
              <a:rPr lang="nl-NL" sz="1200" b="0" i="0" dirty="0">
                <a:solidFill>
                  <a:srgbClr val="0D0D0D"/>
                </a:solidFill>
                <a:effectLst/>
                <a:latin typeface="Söhne"/>
              </a:rPr>
              <a:t>, wetenschappelijke computing met bibliotheken zoals </a:t>
            </a:r>
            <a:r>
              <a:rPr lang="nl-NL" sz="1200" b="0" i="0" dirty="0" err="1">
                <a:solidFill>
                  <a:srgbClr val="0D0D0D"/>
                </a:solidFill>
                <a:effectLst/>
                <a:latin typeface="Söhne"/>
              </a:rPr>
              <a:t>NumPy</a:t>
            </a:r>
            <a:r>
              <a:rPr lang="nl-NL" sz="1200" b="0" i="0" dirty="0">
                <a:solidFill>
                  <a:srgbClr val="0D0D0D"/>
                </a:solidFill>
                <a:effectLst/>
                <a:latin typeface="Söhne"/>
              </a:rPr>
              <a:t> en </a:t>
            </a:r>
            <a:r>
              <a:rPr lang="nl-NL" sz="1200" b="0" i="0" dirty="0" err="1">
                <a:solidFill>
                  <a:srgbClr val="0D0D0D"/>
                </a:solidFill>
                <a:effectLst/>
                <a:latin typeface="Söhne"/>
              </a:rPr>
              <a:t>pandas</a:t>
            </a:r>
            <a:r>
              <a:rPr lang="nl-NL" sz="1200" b="0" i="0" dirty="0">
                <a:solidFill>
                  <a:srgbClr val="0D0D0D"/>
                </a:solidFill>
                <a:effectLst/>
                <a:latin typeface="Söhne"/>
              </a:rPr>
              <a:t>, kunstmatige intelligentie en machine </a:t>
            </a:r>
            <a:r>
              <a:rPr lang="nl-NL" sz="1200" b="0" i="0" dirty="0" err="1">
                <a:solidFill>
                  <a:srgbClr val="0D0D0D"/>
                </a:solidFill>
                <a:effectLst/>
                <a:latin typeface="Söhne"/>
              </a:rPr>
              <a:t>learning</a:t>
            </a:r>
            <a:r>
              <a:rPr lang="nl-NL" sz="1200" b="0" i="0" dirty="0">
                <a:solidFill>
                  <a:srgbClr val="0D0D0D"/>
                </a:solidFill>
                <a:effectLst/>
                <a:latin typeface="Söhne"/>
              </a:rPr>
              <a:t> met bibliotheken zoals </a:t>
            </a:r>
            <a:r>
              <a:rPr lang="nl-NL" sz="1200" b="0" i="0" dirty="0" err="1">
                <a:solidFill>
                  <a:srgbClr val="0D0D0D"/>
                </a:solidFill>
                <a:effectLst/>
                <a:latin typeface="Söhne"/>
              </a:rPr>
              <a:t>TensorFlow</a:t>
            </a:r>
            <a:r>
              <a:rPr lang="nl-NL" sz="1200" b="0" i="0" dirty="0">
                <a:solidFill>
                  <a:srgbClr val="0D0D0D"/>
                </a:solidFill>
                <a:effectLst/>
                <a:latin typeface="Söhne"/>
              </a:rPr>
              <a:t> en </a:t>
            </a:r>
            <a:r>
              <a:rPr lang="nl-NL" sz="1200" b="0" i="0" dirty="0" err="1">
                <a:solidFill>
                  <a:srgbClr val="0D0D0D"/>
                </a:solidFill>
                <a:effectLst/>
                <a:latin typeface="Söhne"/>
              </a:rPr>
              <a:t>scikit-learn</a:t>
            </a:r>
            <a:r>
              <a:rPr lang="nl-NL" sz="1200" b="0" i="0" dirty="0">
                <a:solidFill>
                  <a:srgbClr val="0D0D0D"/>
                </a:solidFill>
                <a:effectLst/>
                <a:latin typeface="Söhne"/>
              </a:rPr>
              <a:t>, en nog veel meer.</a:t>
            </a:r>
          </a:p>
          <a:p>
            <a:pPr algn="l"/>
            <a:endParaRPr lang="nl-NL" sz="1200" b="0" i="0" dirty="0">
              <a:solidFill>
                <a:srgbClr val="0D0D0D"/>
              </a:solidFill>
              <a:effectLst/>
              <a:latin typeface="Söhne"/>
            </a:endParaRPr>
          </a:p>
          <a:p>
            <a:pPr algn="l"/>
            <a:r>
              <a:rPr lang="nl-NL" sz="1200" b="0" i="0" dirty="0">
                <a:solidFill>
                  <a:srgbClr val="0D0D0D"/>
                </a:solidFill>
                <a:effectLst/>
                <a:latin typeface="Söhne"/>
              </a:rPr>
              <a:t>5. **Gemeenschap en ondersteuning**: Python heeft een grote en actieve gemeenschap van ontwikkelaars wereldwijd, wat heeft geleid tot uitgebreide documentatie, </a:t>
            </a:r>
            <a:r>
              <a:rPr lang="nl-NL" sz="1200" b="0" i="0" dirty="0" err="1">
                <a:solidFill>
                  <a:srgbClr val="0D0D0D"/>
                </a:solidFill>
                <a:effectLst/>
                <a:latin typeface="Söhne"/>
              </a:rPr>
              <a:t>tutorials</a:t>
            </a:r>
            <a:r>
              <a:rPr lang="nl-NL" sz="1200" b="0" i="0" dirty="0">
                <a:solidFill>
                  <a:srgbClr val="0D0D0D"/>
                </a:solidFill>
                <a:effectLst/>
                <a:latin typeface="Söhne"/>
              </a:rPr>
              <a:t>, en een overvloed aan open-source bibliotheken en </a:t>
            </a:r>
            <a:r>
              <a:rPr lang="nl-NL" sz="1200" b="0" i="0" dirty="0" err="1">
                <a:solidFill>
                  <a:srgbClr val="0D0D0D"/>
                </a:solidFill>
                <a:effectLst/>
                <a:latin typeface="Söhne"/>
              </a:rPr>
              <a:t>frameworks</a:t>
            </a:r>
            <a:r>
              <a:rPr lang="nl-NL" sz="1200" b="0" i="0" dirty="0">
                <a:solidFill>
                  <a:srgbClr val="0D0D0D"/>
                </a:solidFill>
                <a:effectLst/>
                <a:latin typeface="Söhne"/>
              </a:rPr>
              <a:t>.</a:t>
            </a:r>
          </a:p>
          <a:p>
            <a:pPr algn="l"/>
            <a:endParaRPr lang="nl-NL" sz="1200" b="0" i="0" dirty="0">
              <a:solidFill>
                <a:srgbClr val="0D0D0D"/>
              </a:solidFill>
              <a:effectLst/>
              <a:latin typeface="Söhne"/>
            </a:endParaRPr>
          </a:p>
          <a:p>
            <a:pPr algn="l"/>
            <a:r>
              <a:rPr lang="nl-NL" sz="1200" b="0" i="0" dirty="0">
                <a:solidFill>
                  <a:srgbClr val="0D0D0D"/>
                </a:solidFill>
                <a:effectLst/>
                <a:latin typeface="Söhne"/>
              </a:rPr>
              <a:t>Kortom, Python is een krachtige en veelzijdige programmeertaal die wordt gebruikt voor een breed scala aan toepassingen en die aantrekkelijk is voor zowel beginners als ervaren ontwikkelaars.</a:t>
            </a:r>
          </a:p>
          <a:p>
            <a:pPr algn="l"/>
            <a:endParaRPr lang="nl-NL" sz="1400" b="0" i="0" dirty="0">
              <a:solidFill>
                <a:srgbClr val="0D0D0D"/>
              </a:solidFill>
              <a:effectLst/>
              <a:latin typeface="Söhne"/>
            </a:endParaRPr>
          </a:p>
        </p:txBody>
      </p:sp>
      <p:sp>
        <p:nvSpPr>
          <p:cNvPr id="3" name="Tijdelijke aanduiding voor inhoud 6">
            <a:extLst>
              <a:ext uri="{FF2B5EF4-FFF2-40B4-BE49-F238E27FC236}">
                <a16:creationId xmlns:a16="http://schemas.microsoft.com/office/drawing/2014/main" id="{6D4D8CBC-C048-05BA-A92A-FF4531F28891}"/>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spTree>
    <p:extLst>
      <p:ext uri="{BB962C8B-B14F-4D97-AF65-F5344CB8AC3E}">
        <p14:creationId xmlns:p14="http://schemas.microsoft.com/office/powerpoint/2010/main" val="24093129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De achterliggende stappen</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Pijl: rechts 2">
            <a:extLst>
              <a:ext uri="{FF2B5EF4-FFF2-40B4-BE49-F238E27FC236}">
                <a16:creationId xmlns:a16="http://schemas.microsoft.com/office/drawing/2014/main" id="{2BF14DA1-661F-5CB7-5B19-2D2B8902750E}"/>
              </a:ext>
            </a:extLst>
          </p:cNvPr>
          <p:cNvSpPr/>
          <p:nvPr/>
        </p:nvSpPr>
        <p:spPr>
          <a:xfrm>
            <a:off x="652222" y="2813606"/>
            <a:ext cx="1403389"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err="1"/>
              <a:t>Revit</a:t>
            </a:r>
            <a:r>
              <a:rPr lang="nl-NL" dirty="0"/>
              <a:t> model</a:t>
            </a:r>
          </a:p>
        </p:txBody>
      </p:sp>
      <p:sp>
        <p:nvSpPr>
          <p:cNvPr id="5" name="Pijl: rechts 4">
            <a:extLst>
              <a:ext uri="{FF2B5EF4-FFF2-40B4-BE49-F238E27FC236}">
                <a16:creationId xmlns:a16="http://schemas.microsoft.com/office/drawing/2014/main" id="{80E19590-DD7C-5DB7-A3E5-316B3101E4B2}"/>
              </a:ext>
            </a:extLst>
          </p:cNvPr>
          <p:cNvSpPr/>
          <p:nvPr/>
        </p:nvSpPr>
        <p:spPr>
          <a:xfrm>
            <a:off x="2118287" y="2813606"/>
            <a:ext cx="1276197"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IFC</a:t>
            </a:r>
          </a:p>
        </p:txBody>
      </p:sp>
      <p:sp>
        <p:nvSpPr>
          <p:cNvPr id="6" name="Pijl: rechts 5">
            <a:extLst>
              <a:ext uri="{FF2B5EF4-FFF2-40B4-BE49-F238E27FC236}">
                <a16:creationId xmlns:a16="http://schemas.microsoft.com/office/drawing/2014/main" id="{94369FF1-8375-6456-02DA-6E8A1F57478C}"/>
              </a:ext>
            </a:extLst>
          </p:cNvPr>
          <p:cNvSpPr/>
          <p:nvPr/>
        </p:nvSpPr>
        <p:spPr>
          <a:xfrm>
            <a:off x="5137022" y="2824843"/>
            <a:ext cx="1402978"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RDF</a:t>
            </a:r>
          </a:p>
        </p:txBody>
      </p:sp>
      <p:sp>
        <p:nvSpPr>
          <p:cNvPr id="7" name="Pijl: rechts 6">
            <a:extLst>
              <a:ext uri="{FF2B5EF4-FFF2-40B4-BE49-F238E27FC236}">
                <a16:creationId xmlns:a16="http://schemas.microsoft.com/office/drawing/2014/main" id="{089ED333-AC11-5346-BE9A-34436DAE0E0D}"/>
              </a:ext>
            </a:extLst>
          </p:cNvPr>
          <p:cNvSpPr/>
          <p:nvPr/>
        </p:nvSpPr>
        <p:spPr>
          <a:xfrm>
            <a:off x="7185488" y="2822298"/>
            <a:ext cx="2062107"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Python 2</a:t>
            </a:r>
          </a:p>
        </p:txBody>
      </p:sp>
      <p:sp>
        <p:nvSpPr>
          <p:cNvPr id="8" name="Pijl: rechts 7">
            <a:extLst>
              <a:ext uri="{FF2B5EF4-FFF2-40B4-BE49-F238E27FC236}">
                <a16:creationId xmlns:a16="http://schemas.microsoft.com/office/drawing/2014/main" id="{C45C5163-9771-9C22-6CA4-12476AD36086}"/>
              </a:ext>
            </a:extLst>
          </p:cNvPr>
          <p:cNvSpPr/>
          <p:nvPr/>
        </p:nvSpPr>
        <p:spPr>
          <a:xfrm rot="5400000">
            <a:off x="5815739" y="2056699"/>
            <a:ext cx="1718884" cy="392239"/>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SHACL</a:t>
            </a:r>
          </a:p>
        </p:txBody>
      </p:sp>
      <p:sp>
        <p:nvSpPr>
          <p:cNvPr id="9" name="Ovaal 8">
            <a:extLst>
              <a:ext uri="{FF2B5EF4-FFF2-40B4-BE49-F238E27FC236}">
                <a16:creationId xmlns:a16="http://schemas.microsoft.com/office/drawing/2014/main" id="{60C59D0C-7F34-5328-F8A3-2C3D5BD21F19}"/>
              </a:ext>
            </a:extLst>
          </p:cNvPr>
          <p:cNvSpPr/>
          <p:nvPr/>
        </p:nvSpPr>
        <p:spPr>
          <a:xfrm>
            <a:off x="9580504" y="2362554"/>
            <a:ext cx="1576318" cy="1436915"/>
          </a:xfrm>
          <a:prstGeom prst="ellipse">
            <a:avLst/>
          </a:prstGeom>
          <a:ln>
            <a:solidFill>
              <a:schemeClr val="bg2">
                <a:lumMod val="50000"/>
              </a:schemeClr>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nl-NL" dirty="0"/>
              <a:t>Validatie rapport</a:t>
            </a:r>
          </a:p>
        </p:txBody>
      </p:sp>
      <p:sp>
        <p:nvSpPr>
          <p:cNvPr id="10" name="Pijl: rechts 9">
            <a:extLst>
              <a:ext uri="{FF2B5EF4-FFF2-40B4-BE49-F238E27FC236}">
                <a16:creationId xmlns:a16="http://schemas.microsoft.com/office/drawing/2014/main" id="{B36FCB04-634F-6EE4-927B-CF1BA9893A16}"/>
              </a:ext>
            </a:extLst>
          </p:cNvPr>
          <p:cNvSpPr/>
          <p:nvPr/>
        </p:nvSpPr>
        <p:spPr>
          <a:xfrm rot="5400000">
            <a:off x="5176684" y="4711632"/>
            <a:ext cx="1604608" cy="496583"/>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SPARQL</a:t>
            </a:r>
          </a:p>
        </p:txBody>
      </p:sp>
      <p:sp>
        <p:nvSpPr>
          <p:cNvPr id="12" name="Rechthoek 11">
            <a:extLst>
              <a:ext uri="{FF2B5EF4-FFF2-40B4-BE49-F238E27FC236}">
                <a16:creationId xmlns:a16="http://schemas.microsoft.com/office/drawing/2014/main" id="{1E73C250-1527-603B-7D87-A98B46B924CC}"/>
              </a:ext>
            </a:extLst>
          </p:cNvPr>
          <p:cNvSpPr/>
          <p:nvPr/>
        </p:nvSpPr>
        <p:spPr>
          <a:xfrm>
            <a:off x="4986298" y="1204210"/>
            <a:ext cx="2100971" cy="4683269"/>
          </a:xfrm>
          <a:prstGeom prst="rect">
            <a:avLst/>
          </a:prstGeom>
          <a:noFill/>
          <a:ln w="19050">
            <a:solidFill>
              <a:schemeClr val="accent1">
                <a:lumMod val="60000"/>
                <a:lumOff val="40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nl-NL"/>
          </a:p>
        </p:txBody>
      </p:sp>
      <p:sp>
        <p:nvSpPr>
          <p:cNvPr id="13" name="Rechthoek 12">
            <a:extLst>
              <a:ext uri="{FF2B5EF4-FFF2-40B4-BE49-F238E27FC236}">
                <a16:creationId xmlns:a16="http://schemas.microsoft.com/office/drawing/2014/main" id="{F8425492-1027-AF53-46FF-0C1AB39AE994}"/>
              </a:ext>
            </a:extLst>
          </p:cNvPr>
          <p:cNvSpPr/>
          <p:nvPr/>
        </p:nvSpPr>
        <p:spPr>
          <a:xfrm>
            <a:off x="652222" y="3886553"/>
            <a:ext cx="5826839" cy="168553"/>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Het model van het gebouw/object</a:t>
            </a:r>
          </a:p>
        </p:txBody>
      </p:sp>
      <p:sp>
        <p:nvSpPr>
          <p:cNvPr id="14" name="Rechthoek 13">
            <a:extLst>
              <a:ext uri="{FF2B5EF4-FFF2-40B4-BE49-F238E27FC236}">
                <a16:creationId xmlns:a16="http://schemas.microsoft.com/office/drawing/2014/main" id="{9448B57C-F5A4-AEFA-122A-DFF09EB74573}"/>
              </a:ext>
            </a:extLst>
          </p:cNvPr>
          <p:cNvSpPr/>
          <p:nvPr/>
        </p:nvSpPr>
        <p:spPr>
          <a:xfrm rot="5400000">
            <a:off x="4837427" y="4457214"/>
            <a:ext cx="1230810" cy="631620"/>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Gegevens </a:t>
            </a:r>
          </a:p>
          <a:p>
            <a:pPr algn="ctr"/>
            <a:r>
              <a:rPr lang="nl-NL" dirty="0"/>
              <a:t>ophalen</a:t>
            </a:r>
          </a:p>
        </p:txBody>
      </p:sp>
      <p:sp>
        <p:nvSpPr>
          <p:cNvPr id="15" name="Rechthoek 14">
            <a:extLst>
              <a:ext uri="{FF2B5EF4-FFF2-40B4-BE49-F238E27FC236}">
                <a16:creationId xmlns:a16="http://schemas.microsoft.com/office/drawing/2014/main" id="{E8CDE6DC-D889-9DE9-5FD3-20C9EA913B72}"/>
              </a:ext>
            </a:extLst>
          </p:cNvPr>
          <p:cNvSpPr/>
          <p:nvPr/>
        </p:nvSpPr>
        <p:spPr>
          <a:xfrm rot="5400000">
            <a:off x="5506654" y="1776794"/>
            <a:ext cx="1398458" cy="631620"/>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Gegevens </a:t>
            </a:r>
          </a:p>
          <a:p>
            <a:pPr algn="ctr"/>
            <a:r>
              <a:rPr lang="nl-NL" dirty="0"/>
              <a:t>controleren</a:t>
            </a:r>
          </a:p>
        </p:txBody>
      </p:sp>
      <p:sp>
        <p:nvSpPr>
          <p:cNvPr id="16" name="Rechthoek 15">
            <a:extLst>
              <a:ext uri="{FF2B5EF4-FFF2-40B4-BE49-F238E27FC236}">
                <a16:creationId xmlns:a16="http://schemas.microsoft.com/office/drawing/2014/main" id="{733BB036-B6B9-C5C5-1F5D-5465D704989E}"/>
              </a:ext>
            </a:extLst>
          </p:cNvPr>
          <p:cNvSpPr/>
          <p:nvPr/>
        </p:nvSpPr>
        <p:spPr>
          <a:xfrm>
            <a:off x="7172607" y="3905279"/>
            <a:ext cx="2074988" cy="781661"/>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Gegevenscontrole (</a:t>
            </a:r>
            <a:r>
              <a:rPr lang="nl-NL" dirty="0" err="1"/>
              <a:t>shacl</a:t>
            </a:r>
            <a:r>
              <a:rPr lang="nl-NL" dirty="0"/>
              <a:t>) over de RDF data</a:t>
            </a:r>
          </a:p>
        </p:txBody>
      </p:sp>
      <p:sp>
        <p:nvSpPr>
          <p:cNvPr id="17" name="Rechthoek 16">
            <a:extLst>
              <a:ext uri="{FF2B5EF4-FFF2-40B4-BE49-F238E27FC236}">
                <a16:creationId xmlns:a16="http://schemas.microsoft.com/office/drawing/2014/main" id="{EA8662EF-1D91-FD69-1FD7-3879D2D9E2CA}"/>
              </a:ext>
            </a:extLst>
          </p:cNvPr>
          <p:cNvSpPr/>
          <p:nvPr/>
        </p:nvSpPr>
        <p:spPr>
          <a:xfrm>
            <a:off x="9349219" y="3886553"/>
            <a:ext cx="2074988" cy="1165443"/>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Rapport met ontbrekende/fout ingevulde onderdelen</a:t>
            </a:r>
          </a:p>
        </p:txBody>
      </p:sp>
      <p:sp>
        <p:nvSpPr>
          <p:cNvPr id="18" name="Pijl: rechts 17">
            <a:extLst>
              <a:ext uri="{FF2B5EF4-FFF2-40B4-BE49-F238E27FC236}">
                <a16:creationId xmlns:a16="http://schemas.microsoft.com/office/drawing/2014/main" id="{C6D6A254-D8E4-BDCA-3BF5-D5DD5053510D}"/>
              </a:ext>
            </a:extLst>
          </p:cNvPr>
          <p:cNvSpPr/>
          <p:nvPr/>
        </p:nvSpPr>
        <p:spPr>
          <a:xfrm>
            <a:off x="3458589" y="2791833"/>
            <a:ext cx="1489597"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Python 1</a:t>
            </a:r>
          </a:p>
        </p:txBody>
      </p:sp>
      <p:sp>
        <p:nvSpPr>
          <p:cNvPr id="19" name="Rechthoek 18">
            <a:extLst>
              <a:ext uri="{FF2B5EF4-FFF2-40B4-BE49-F238E27FC236}">
                <a16:creationId xmlns:a16="http://schemas.microsoft.com/office/drawing/2014/main" id="{219E3B1D-A1BB-30DD-B6D3-18F4569C8614}"/>
              </a:ext>
            </a:extLst>
          </p:cNvPr>
          <p:cNvSpPr/>
          <p:nvPr/>
        </p:nvSpPr>
        <p:spPr>
          <a:xfrm>
            <a:off x="3457965" y="1965925"/>
            <a:ext cx="1424104" cy="781661"/>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Converter IFC/RDF</a:t>
            </a:r>
          </a:p>
        </p:txBody>
      </p:sp>
      <p:sp>
        <p:nvSpPr>
          <p:cNvPr id="20" name="Rechthoek 19">
            <a:extLst>
              <a:ext uri="{FF2B5EF4-FFF2-40B4-BE49-F238E27FC236}">
                <a16:creationId xmlns:a16="http://schemas.microsoft.com/office/drawing/2014/main" id="{3EACE04E-BE91-150C-1AEF-3A404104BBB8}"/>
              </a:ext>
            </a:extLst>
          </p:cNvPr>
          <p:cNvSpPr/>
          <p:nvPr/>
        </p:nvSpPr>
        <p:spPr>
          <a:xfrm>
            <a:off x="4986298" y="5864741"/>
            <a:ext cx="2100970" cy="302059"/>
          </a:xfrm>
          <a:prstGeom prst="rect">
            <a:avLst/>
          </a:prstGeom>
          <a:solidFill>
            <a:schemeClr val="accent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Linked data</a:t>
            </a:r>
          </a:p>
        </p:txBody>
      </p:sp>
    </p:spTree>
    <p:extLst>
      <p:ext uri="{BB962C8B-B14F-4D97-AF65-F5344CB8AC3E}">
        <p14:creationId xmlns:p14="http://schemas.microsoft.com/office/powerpoint/2010/main" val="35164892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Wat is Linked data?</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5" name="Tekstvak 4">
            <a:extLst>
              <a:ext uri="{FF2B5EF4-FFF2-40B4-BE49-F238E27FC236}">
                <a16:creationId xmlns:a16="http://schemas.microsoft.com/office/drawing/2014/main" id="{40BEEE44-7F2B-BDF1-A14B-33D44B17EE26}"/>
              </a:ext>
            </a:extLst>
          </p:cNvPr>
          <p:cNvSpPr txBox="1"/>
          <p:nvPr/>
        </p:nvSpPr>
        <p:spPr>
          <a:xfrm>
            <a:off x="772888" y="1292988"/>
            <a:ext cx="10472284" cy="4801314"/>
          </a:xfrm>
          <a:prstGeom prst="rect">
            <a:avLst/>
          </a:prstGeom>
          <a:noFill/>
        </p:spPr>
        <p:txBody>
          <a:bodyPr wrap="square">
            <a:spAutoFit/>
          </a:bodyPr>
          <a:lstStyle/>
          <a:p>
            <a:pPr marL="285750" indent="-285750" algn="l">
              <a:buFont typeface="Arial" panose="020B0604020202020204" pitchFamily="34" charset="0"/>
              <a:buChar char="•"/>
            </a:pPr>
            <a:r>
              <a:rPr lang="nl-NL" sz="1600" b="0" i="0" dirty="0">
                <a:effectLst/>
                <a:latin typeface="Söhne"/>
              </a:rPr>
              <a:t>Linked data is als een manier om informatie op het internet te organiseren, vergelijkbaar met hoe je links op een website kunt gebruiken om van de ene pagina naar de andere te gaan. Stel je voor dat we informatie over katten op het internet willen delen.</a:t>
            </a:r>
          </a:p>
          <a:p>
            <a:pPr marL="285750" indent="-285750" algn="l">
              <a:buFont typeface="Arial" panose="020B0604020202020204" pitchFamily="34" charset="0"/>
              <a:buChar char="•"/>
            </a:pPr>
            <a:endParaRPr lang="nl-NL" sz="1600" b="0" i="0" dirty="0">
              <a:effectLst/>
              <a:latin typeface="Söhne"/>
            </a:endParaRPr>
          </a:p>
          <a:p>
            <a:pPr marL="285750" indent="-285750" algn="l">
              <a:buFont typeface="Arial" panose="020B0604020202020204" pitchFamily="34" charset="0"/>
              <a:buChar char="•"/>
            </a:pPr>
            <a:r>
              <a:rPr lang="nl-NL" sz="1600" b="0" i="0" dirty="0">
                <a:effectLst/>
                <a:latin typeface="Söhne"/>
              </a:rPr>
              <a:t>In plaats van alle informatie over katten op één enorme webpagina te plaatsen, kunnen we deze opsplitsen in kleinere, specifieke stukjes informatie. Bijvoorbeeld, er zou een stukje informatie kunnen zijn over de leeftijd van katten, een ander stukje informatie over hun gewicht, en weer een ander stukje over hun soorten.</a:t>
            </a:r>
          </a:p>
          <a:p>
            <a:pPr marL="285750" indent="-285750" algn="l">
              <a:buFont typeface="Arial" panose="020B0604020202020204" pitchFamily="34" charset="0"/>
              <a:buChar char="•"/>
            </a:pPr>
            <a:endParaRPr lang="nl-NL" sz="1600" b="0" i="0" dirty="0">
              <a:effectLst/>
              <a:latin typeface="Söhne"/>
            </a:endParaRPr>
          </a:p>
          <a:p>
            <a:pPr marL="285750" indent="-285750" algn="l">
              <a:buFont typeface="Arial" panose="020B0604020202020204" pitchFamily="34" charset="0"/>
              <a:buChar char="•"/>
            </a:pPr>
            <a:r>
              <a:rPr lang="nl-NL" sz="1600" b="0" i="0" dirty="0">
                <a:effectLst/>
                <a:latin typeface="Söhne"/>
              </a:rPr>
              <a:t>Deze stukjes informatie worden als 'gegevenspunten' op het web geplaatst en krijgen een unieke identificatie, zoals een webadres. Stel je voor dat het gewicht van katten een eigen webadres heeft, bijvoorbeeld </a:t>
            </a:r>
            <a:r>
              <a:rPr lang="nl-NL" sz="1600" b="0" i="0" u="none" strike="noStrike" dirty="0">
                <a:effectLst/>
                <a:latin typeface="Söhne"/>
                <a:hlinkClick r:id="rId3">
                  <a:extLst>
                    <a:ext uri="{A12FA001-AC4F-418D-AE19-62706E023703}">
                      <ahyp:hlinkClr xmlns:ahyp="http://schemas.microsoft.com/office/drawing/2018/hyperlinkcolor" val="tx"/>
                    </a:ext>
                  </a:extLst>
                </a:hlinkClick>
              </a:rPr>
              <a:t>www.katinfo.com/gewicht</a:t>
            </a:r>
            <a:r>
              <a:rPr lang="nl-NL" sz="1600" b="0" i="0" dirty="0">
                <a:effectLst/>
                <a:latin typeface="Söhne"/>
              </a:rPr>
              <a:t>.</a:t>
            </a:r>
          </a:p>
          <a:p>
            <a:pPr marL="285750" indent="-285750" algn="l">
              <a:buFont typeface="Arial" panose="020B0604020202020204" pitchFamily="34" charset="0"/>
              <a:buChar char="•"/>
            </a:pPr>
            <a:endParaRPr lang="nl-NL" sz="1600" b="0" i="0" dirty="0">
              <a:effectLst/>
              <a:latin typeface="Söhne"/>
            </a:endParaRPr>
          </a:p>
          <a:p>
            <a:pPr marL="285750" indent="-285750" algn="l">
              <a:buFont typeface="Arial" panose="020B0604020202020204" pitchFamily="34" charset="0"/>
              <a:buChar char="•"/>
            </a:pPr>
            <a:r>
              <a:rPr lang="nl-NL" sz="1600" b="0" i="0" dirty="0">
                <a:effectLst/>
                <a:latin typeface="Söhne"/>
              </a:rPr>
              <a:t>Nu kunnen we deze gegevenspunten koppelen, net als weblinks. Bijvoorbeeld, op de pagina over kattenleeftijd kunnen we een link plaatsen naar het gewicht van katten door simpelweg naar dat specifieke webadres te verwijzen.</a:t>
            </a:r>
          </a:p>
          <a:p>
            <a:pPr marL="285750" indent="-285750" algn="l">
              <a:buFont typeface="Arial" panose="020B0604020202020204" pitchFamily="34" charset="0"/>
              <a:buChar char="•"/>
            </a:pPr>
            <a:endParaRPr lang="nl-NL" sz="1600" b="0" i="0" dirty="0">
              <a:effectLst/>
              <a:latin typeface="Söhne"/>
            </a:endParaRPr>
          </a:p>
          <a:p>
            <a:pPr marL="285750" indent="-285750" algn="l">
              <a:buFont typeface="Arial" panose="020B0604020202020204" pitchFamily="34" charset="0"/>
              <a:buChar char="•"/>
            </a:pPr>
            <a:r>
              <a:rPr lang="nl-NL" sz="1600" b="0" i="0" dirty="0">
                <a:effectLst/>
                <a:latin typeface="Söhne"/>
              </a:rPr>
              <a:t>Hierdoor ontstaat een web van onderling verbonden informatie, waar je van het ene gegevenspunt naar het andere kunt springen om meer te weten te komen. Het mooie is dat dit niet alleen voor katteninformatie geldt, maar voor allerlei soorten informatie op het web, waardoor het gemakkelijker wordt om gegevens te delen en te vinden. Dus, </a:t>
            </a:r>
            <a:r>
              <a:rPr lang="nl-NL" sz="1600" b="0" i="0" dirty="0" err="1">
                <a:effectLst/>
                <a:latin typeface="Söhne"/>
              </a:rPr>
              <a:t>linked</a:t>
            </a:r>
            <a:r>
              <a:rPr lang="nl-NL" sz="1600" b="0" i="0" dirty="0">
                <a:effectLst/>
                <a:latin typeface="Söhne"/>
              </a:rPr>
              <a:t> data is als een web van gekoppelde informatie, vergelijkbaar met hoe we op internet van de ene pagina naar de andere springen, maar dan voor gegevens</a:t>
            </a:r>
            <a:r>
              <a:rPr lang="nl-NL" b="0" i="0" dirty="0">
                <a:effectLst/>
                <a:latin typeface="Söhne"/>
              </a:rPr>
              <a:t>.</a:t>
            </a:r>
          </a:p>
        </p:txBody>
      </p:sp>
      <p:sp>
        <p:nvSpPr>
          <p:cNvPr id="6" name="Tijdelijke aanduiding voor inhoud 6">
            <a:extLst>
              <a:ext uri="{FF2B5EF4-FFF2-40B4-BE49-F238E27FC236}">
                <a16:creationId xmlns:a16="http://schemas.microsoft.com/office/drawing/2014/main" id="{83D4BB63-68EA-C7CA-D494-BCA86230C4CC}"/>
              </a:ext>
            </a:extLst>
          </p:cNvPr>
          <p:cNvSpPr txBox="1">
            <a:spLocks/>
          </p:cNvSpPr>
          <p:nvPr/>
        </p:nvSpPr>
        <p:spPr>
          <a:xfrm>
            <a:off x="10084378" y="5715164"/>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pic>
        <p:nvPicPr>
          <p:cNvPr id="8" name="Picture 2" descr="A set of cats collection of cartoon kittens Vector Image">
            <a:extLst>
              <a:ext uri="{FF2B5EF4-FFF2-40B4-BE49-F238E27FC236}">
                <a16:creationId xmlns:a16="http://schemas.microsoft.com/office/drawing/2014/main" id="{C1A72766-9309-FA70-450B-BB4270732E6B}"/>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backgroundRemoval t="10000" b="90000" l="10000" r="90000">
                        <a14:foregroundMark x1="53700" y1="66706" x2="49700" y2="61575"/>
                        <a14:foregroundMark x1="49700" y1="61575" x2="49700" y2="61575"/>
                        <a14:foregroundMark x1="50900" y1="81742" x2="58700" y2="81384"/>
                        <a14:foregroundMark x1="58700" y1="81384" x2="64300" y2="77446"/>
                        <a14:foregroundMark x1="64300" y1="77446" x2="64400" y2="76611"/>
                        <a14:foregroundMark x1="64400" y1="78878" x2="65000" y2="77804"/>
                      </a14:backgroundRemoval>
                    </a14:imgEffect>
                  </a14:imgLayer>
                </a14:imgProps>
              </a:ext>
              <a:ext uri="{28A0092B-C50C-407E-A947-70E740481C1C}">
                <a14:useLocalDpi xmlns:a14="http://schemas.microsoft.com/office/drawing/2010/main" val="0"/>
              </a:ext>
            </a:extLst>
          </a:blip>
          <a:srcRect l="39758" t="57934" r="31909" b="14606"/>
          <a:stretch/>
        </p:blipFill>
        <p:spPr bwMode="auto">
          <a:xfrm>
            <a:off x="10203825" y="60065"/>
            <a:ext cx="1554124" cy="1262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91238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Wat is Linked data?</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5" name="Tekstvak 4">
            <a:extLst>
              <a:ext uri="{FF2B5EF4-FFF2-40B4-BE49-F238E27FC236}">
                <a16:creationId xmlns:a16="http://schemas.microsoft.com/office/drawing/2014/main" id="{40BEEE44-7F2B-BDF1-A14B-33D44B17EE26}"/>
              </a:ext>
            </a:extLst>
          </p:cNvPr>
          <p:cNvSpPr txBox="1"/>
          <p:nvPr/>
        </p:nvSpPr>
        <p:spPr>
          <a:xfrm>
            <a:off x="772888" y="1292988"/>
            <a:ext cx="10472284" cy="3539430"/>
          </a:xfrm>
          <a:prstGeom prst="rect">
            <a:avLst/>
          </a:prstGeom>
          <a:noFill/>
        </p:spPr>
        <p:txBody>
          <a:bodyPr wrap="square">
            <a:spAutoFit/>
          </a:bodyPr>
          <a:lstStyle/>
          <a:p>
            <a:pPr marL="285750" indent="-285750" algn="just">
              <a:buFont typeface="Arial" panose="020B0604020202020204" pitchFamily="34" charset="0"/>
              <a:buChar char="•"/>
            </a:pPr>
            <a:r>
              <a:rPr lang="nl-NL" sz="1600" b="0" i="0" dirty="0">
                <a:effectLst/>
                <a:latin typeface="Söhne"/>
              </a:rPr>
              <a:t>Linked Data, in eenvoudige bewoordingen, is een manier om informatie op het internet te organiseren en te verbinden, zodat computers en mensen gemakkelijk met elkaar kunnen praten en begrijpen.</a:t>
            </a:r>
          </a:p>
          <a:p>
            <a:pPr marL="285750" indent="-285750" algn="just">
              <a:buFont typeface="Arial" panose="020B0604020202020204" pitchFamily="34" charset="0"/>
              <a:buChar char="•"/>
            </a:pPr>
            <a:endParaRPr lang="nl-NL" sz="1600" b="0" i="0" dirty="0">
              <a:effectLst/>
              <a:latin typeface="Söhne"/>
            </a:endParaRPr>
          </a:p>
          <a:p>
            <a:pPr marL="285750" indent="-285750" algn="just">
              <a:buFont typeface="Arial" panose="020B0604020202020204" pitchFamily="34" charset="0"/>
              <a:buChar char="•"/>
            </a:pPr>
            <a:r>
              <a:rPr lang="nl-NL" sz="1600" b="0" i="0" dirty="0">
                <a:effectLst/>
                <a:latin typeface="Söhne"/>
              </a:rPr>
              <a:t>Stel je voor dat het internet een gigantische bibliotheek is, en alle informatie op het internet zijn boeken. Linked Data is als een slimme manier om de boeken in de bibliotheek te labelen, zodat je gemakkelijk kunt zien welke boeken met elkaar te maken hebben. Als je bijvoorbeeld één boek vindt, kun je door de labels zien welke andere boeken erover gaan, en zo kun je een hele reeks boeken over hetzelfde onderwerp ontdekken.</a:t>
            </a:r>
          </a:p>
          <a:p>
            <a:pPr marL="285750" indent="-285750" algn="just">
              <a:buFont typeface="Arial" panose="020B0604020202020204" pitchFamily="34" charset="0"/>
              <a:buChar char="•"/>
            </a:pPr>
            <a:endParaRPr lang="nl-NL" sz="1600" b="0" i="0" dirty="0">
              <a:effectLst/>
              <a:latin typeface="Söhne"/>
            </a:endParaRPr>
          </a:p>
          <a:p>
            <a:pPr marL="285750" indent="-285750" algn="just">
              <a:buFont typeface="Arial" panose="020B0604020202020204" pitchFamily="34" charset="0"/>
              <a:buChar char="•"/>
            </a:pPr>
            <a:r>
              <a:rPr lang="nl-NL" sz="1600" b="0" i="0" dirty="0">
                <a:effectLst/>
                <a:latin typeface="Söhne"/>
              </a:rPr>
              <a:t>Op dezelfde manier labelt Linked Data informatie op het internet met speciale labels, zodat computers kunnen begrijpen hoe verschillende stukken informatie met elkaar in verband staan. Dit maakt het mogelijk om informatie gemakkelijk te delen, te koppelen en te begrijpen, waardoor het internet nog nuttiger wordt.</a:t>
            </a:r>
          </a:p>
          <a:p>
            <a:pPr marL="285750" indent="-285750" algn="just">
              <a:buFont typeface="Arial" panose="020B0604020202020204" pitchFamily="34" charset="0"/>
              <a:buChar char="•"/>
            </a:pPr>
            <a:endParaRPr lang="nl-NL" sz="1600" b="0" i="0" dirty="0">
              <a:effectLst/>
              <a:latin typeface="Söhne"/>
            </a:endParaRPr>
          </a:p>
          <a:p>
            <a:pPr marL="285750" indent="-285750" algn="just">
              <a:buFont typeface="Arial" panose="020B0604020202020204" pitchFamily="34" charset="0"/>
              <a:buChar char="•"/>
            </a:pPr>
            <a:r>
              <a:rPr lang="nl-NL" sz="1600" b="0" i="0" dirty="0">
                <a:effectLst/>
                <a:latin typeface="Söhne"/>
              </a:rPr>
              <a:t>Kortom, Linked Data is als een slimme bibliotheekcatalogus voor het internet, waardoor informatie gemakkelijker te vinden en te gebruiken is.</a:t>
            </a:r>
          </a:p>
        </p:txBody>
      </p:sp>
      <p:sp>
        <p:nvSpPr>
          <p:cNvPr id="6" name="Tijdelijke aanduiding voor inhoud 6">
            <a:extLst>
              <a:ext uri="{FF2B5EF4-FFF2-40B4-BE49-F238E27FC236}">
                <a16:creationId xmlns:a16="http://schemas.microsoft.com/office/drawing/2014/main" id="{83D4BB63-68EA-C7CA-D494-BCA86230C4CC}"/>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sp>
        <p:nvSpPr>
          <p:cNvPr id="3" name="Tekstvak 2">
            <a:extLst>
              <a:ext uri="{FF2B5EF4-FFF2-40B4-BE49-F238E27FC236}">
                <a16:creationId xmlns:a16="http://schemas.microsoft.com/office/drawing/2014/main" id="{52A13EDA-4355-7AA7-3CE6-7620702AC536}"/>
              </a:ext>
            </a:extLst>
          </p:cNvPr>
          <p:cNvSpPr txBox="1"/>
          <p:nvPr/>
        </p:nvSpPr>
        <p:spPr>
          <a:xfrm>
            <a:off x="925447" y="5245315"/>
            <a:ext cx="7796540" cy="646331"/>
          </a:xfrm>
          <a:prstGeom prst="rect">
            <a:avLst/>
          </a:prstGeom>
          <a:noFill/>
        </p:spPr>
        <p:txBody>
          <a:bodyPr wrap="square" rtlCol="0">
            <a:spAutoFit/>
          </a:bodyPr>
          <a:lstStyle/>
          <a:p>
            <a:r>
              <a:rPr lang="nl-NL" dirty="0"/>
              <a:t>Zie voorbeeld: 1. </a:t>
            </a:r>
            <a:r>
              <a:rPr lang="en-US" dirty="0">
                <a:hlinkClick r:id="rId2"/>
              </a:rPr>
              <a:t>What is Linked Data? - YouTube</a:t>
            </a:r>
            <a:endParaRPr lang="nl-NL" dirty="0"/>
          </a:p>
          <a:p>
            <a:r>
              <a:rPr lang="nl-NL" dirty="0"/>
              <a:t> 2. </a:t>
            </a:r>
            <a:r>
              <a:rPr lang="nl-NL" u="sng" dirty="0">
                <a:hlinkClick r:id="rId3"/>
              </a:rPr>
              <a:t>https://youtu.be/rJPhNTw7u4U?feature=shared</a:t>
            </a:r>
            <a:endParaRPr lang="nl-NL" u="sng" dirty="0"/>
          </a:p>
        </p:txBody>
      </p:sp>
    </p:spTree>
    <p:extLst>
      <p:ext uri="{BB962C8B-B14F-4D97-AF65-F5344CB8AC3E}">
        <p14:creationId xmlns:p14="http://schemas.microsoft.com/office/powerpoint/2010/main" val="33883143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Wat is RDF ?</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914978" y="992094"/>
            <a:ext cx="10164539" cy="4862870"/>
          </a:xfrm>
          <a:prstGeom prst="rect">
            <a:avLst/>
          </a:prstGeom>
          <a:noFill/>
        </p:spPr>
        <p:txBody>
          <a:bodyPr wrap="square" rtlCol="0">
            <a:spAutoFit/>
          </a:bodyPr>
          <a:lstStyle/>
          <a:p>
            <a:pPr algn="l"/>
            <a:br>
              <a:rPr lang="nl-NL" sz="2000" b="0" i="0" dirty="0">
                <a:solidFill>
                  <a:srgbClr val="0D0D0D"/>
                </a:solidFill>
                <a:effectLst/>
                <a:latin typeface="Söhne"/>
              </a:rPr>
            </a:br>
            <a:r>
              <a:rPr lang="nl-NL" sz="1600" b="0" i="0" dirty="0">
                <a:solidFill>
                  <a:srgbClr val="0D0D0D"/>
                </a:solidFill>
                <a:effectLst/>
                <a:latin typeface="Söhne"/>
              </a:rPr>
              <a:t>RDF staat voor Resource </a:t>
            </a:r>
            <a:r>
              <a:rPr lang="nl-NL" sz="1600" b="0" i="0" dirty="0" err="1">
                <a:solidFill>
                  <a:srgbClr val="0D0D0D"/>
                </a:solidFill>
                <a:effectLst/>
                <a:latin typeface="Söhne"/>
              </a:rPr>
              <a:t>Description</a:t>
            </a:r>
            <a:r>
              <a:rPr lang="nl-NL" sz="1600" b="0" i="0" dirty="0">
                <a:solidFill>
                  <a:srgbClr val="0D0D0D"/>
                </a:solidFill>
                <a:effectLst/>
                <a:latin typeface="Söhne"/>
              </a:rPr>
              <a:t> Framework. Het is een standaardmodel voor het representeren van gegevens en metadata op het web. RDF biedt een gestandaardiseerde manier om informatie te beschrijven en te delen, waardoor het mogelijk wordt om gegevens op een </a:t>
            </a:r>
            <a:r>
              <a:rPr lang="nl-NL" sz="1600" b="0" i="0" dirty="0" err="1">
                <a:solidFill>
                  <a:srgbClr val="0D0D0D"/>
                </a:solidFill>
                <a:effectLst/>
                <a:latin typeface="Söhne"/>
              </a:rPr>
              <a:t>machineleesbare</a:t>
            </a:r>
            <a:r>
              <a:rPr lang="nl-NL" sz="1600" b="0" i="0" dirty="0">
                <a:solidFill>
                  <a:srgbClr val="0D0D0D"/>
                </a:solidFill>
                <a:effectLst/>
                <a:latin typeface="Söhne"/>
              </a:rPr>
              <a:t> manier te structureren.</a:t>
            </a:r>
          </a:p>
          <a:p>
            <a:pPr algn="l"/>
            <a:endParaRPr lang="nl-NL" sz="1600" b="0" i="0" dirty="0">
              <a:solidFill>
                <a:srgbClr val="0D0D0D"/>
              </a:solidFill>
              <a:effectLst/>
              <a:latin typeface="Söhne"/>
            </a:endParaRPr>
          </a:p>
          <a:p>
            <a:pPr algn="l"/>
            <a:r>
              <a:rPr lang="nl-NL" sz="1600" b="0" i="0" dirty="0">
                <a:solidFill>
                  <a:srgbClr val="0D0D0D"/>
                </a:solidFill>
                <a:effectLst/>
                <a:latin typeface="Söhne"/>
              </a:rPr>
              <a:t>In RDF worden gegevens gemodelleerd als </a:t>
            </a:r>
            <a:r>
              <a:rPr lang="nl-NL" sz="1600" b="0" i="0" dirty="0" err="1">
                <a:solidFill>
                  <a:srgbClr val="0D0D0D"/>
                </a:solidFill>
                <a:effectLst/>
                <a:latin typeface="Söhne"/>
              </a:rPr>
              <a:t>triples</a:t>
            </a:r>
            <a:r>
              <a:rPr lang="nl-NL" sz="1600" b="0" i="0" dirty="0">
                <a:solidFill>
                  <a:srgbClr val="0D0D0D"/>
                </a:solidFill>
                <a:effectLst/>
                <a:latin typeface="Söhne"/>
              </a:rPr>
              <a:t>, bestaande uit subject-predicaat-object. Dit wordt vaak weergegeven als een gerichte graaf, waarbij de subjecten en objecten knooppunten zijn en de predicaatverbindingen tussen hen zijn. Elk triple geeft een feit weer over een bron, waarbij het subject het onderwerp van de verklaring is, het predicaat de eigenschap of relatie die wordt beschreven, en het object de waarde of het doel van die eigenschap.</a:t>
            </a:r>
          </a:p>
          <a:p>
            <a:pPr algn="l"/>
            <a:endParaRPr lang="nl-NL" sz="1600" b="0" i="0" dirty="0">
              <a:solidFill>
                <a:srgbClr val="0D0D0D"/>
              </a:solidFill>
              <a:effectLst/>
              <a:latin typeface="Söhne"/>
            </a:endParaRPr>
          </a:p>
          <a:p>
            <a:pPr algn="l"/>
            <a:r>
              <a:rPr lang="nl-NL" sz="1600" b="0" i="0" dirty="0">
                <a:solidFill>
                  <a:srgbClr val="0D0D0D"/>
                </a:solidFill>
                <a:effectLst/>
                <a:latin typeface="Söhne"/>
              </a:rPr>
              <a:t>RDF wordt veel gebruikt binnen het domein van Linked Data, omdat het een gestandaardiseerde manier biedt om gegevens te modelleren en te delen op het web. Het maakt het mogelijk om semantische betekenis toe te kennen aan gegevens, waardoor computersystemen beter in staat zijn om gegevens te begrijpen en te verwerken.</a:t>
            </a:r>
          </a:p>
          <a:p>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2000" i="1" dirty="0">
              <a:latin typeface="Calibri" panose="020F0502020204030204" pitchFamily="34" charset="0"/>
              <a:ea typeface="Calibri" panose="020F0502020204030204" pitchFamily="34" charset="0"/>
              <a:cs typeface="Times New Roman" panose="02020603050405020304" pitchFamily="18" charset="0"/>
            </a:endParaRPr>
          </a:p>
          <a:p>
            <a:endParaRPr lang="en-US" sz="2000" i="1"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
        <p:nvSpPr>
          <p:cNvPr id="3" name="Tijdelijke aanduiding voor inhoud 6">
            <a:extLst>
              <a:ext uri="{FF2B5EF4-FFF2-40B4-BE49-F238E27FC236}">
                <a16:creationId xmlns:a16="http://schemas.microsoft.com/office/drawing/2014/main" id="{6D4D8CBC-C048-05BA-A92A-FF4531F28891}"/>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spTree>
    <p:extLst>
      <p:ext uri="{BB962C8B-B14F-4D97-AF65-F5344CB8AC3E}">
        <p14:creationId xmlns:p14="http://schemas.microsoft.com/office/powerpoint/2010/main" val="7481009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Wat is RDF ?</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914978" y="992094"/>
            <a:ext cx="10164539" cy="6340197"/>
          </a:xfrm>
          <a:prstGeom prst="rect">
            <a:avLst/>
          </a:prstGeom>
          <a:noFill/>
        </p:spPr>
        <p:txBody>
          <a:bodyPr wrap="square" rtlCol="0">
            <a:spAutoFit/>
          </a:bodyPr>
          <a:lstStyle/>
          <a:p>
            <a:pPr algn="l"/>
            <a:br>
              <a:rPr lang="nl-NL" sz="2000" b="0" i="0" dirty="0">
                <a:solidFill>
                  <a:srgbClr val="0D0D0D"/>
                </a:solidFill>
                <a:effectLst/>
                <a:latin typeface="Söhne"/>
              </a:rPr>
            </a:br>
            <a:r>
              <a:rPr lang="nl-NL" sz="1600" b="0" i="0" dirty="0">
                <a:solidFill>
                  <a:srgbClr val="0D0D0D"/>
                </a:solidFill>
                <a:effectLst/>
                <a:latin typeface="Söhne"/>
              </a:rPr>
              <a:t>Stel dat we informatie willen modelleren over een kat genaamd "</a:t>
            </a:r>
            <a:r>
              <a:rPr lang="nl-NL" sz="1600" b="0" i="0" dirty="0" err="1">
                <a:solidFill>
                  <a:srgbClr val="0D0D0D"/>
                </a:solidFill>
                <a:effectLst/>
                <a:latin typeface="Söhne"/>
              </a:rPr>
              <a:t>Whiskers</a:t>
            </a:r>
            <a:r>
              <a:rPr lang="nl-NL" sz="1600" b="0" i="0" dirty="0">
                <a:solidFill>
                  <a:srgbClr val="0D0D0D"/>
                </a:solidFill>
                <a:effectLst/>
                <a:latin typeface="Söhne"/>
              </a:rPr>
              <a:t>". We kunnen dit doen met behulp van RDF-</a:t>
            </a:r>
            <a:r>
              <a:rPr lang="nl-NL" sz="1600" b="0" i="0" dirty="0" err="1">
                <a:solidFill>
                  <a:srgbClr val="0D0D0D"/>
                </a:solidFill>
                <a:effectLst/>
                <a:latin typeface="Söhne"/>
              </a:rPr>
              <a:t>triples</a:t>
            </a:r>
            <a:r>
              <a:rPr lang="nl-NL" sz="1600" b="0" i="0" dirty="0">
                <a:solidFill>
                  <a:srgbClr val="0D0D0D"/>
                </a:solidFill>
                <a:effectLst/>
                <a:latin typeface="Söhne"/>
              </a:rPr>
              <a:t>. Laten we aannemen dat we de volgende informatie over </a:t>
            </a:r>
            <a:r>
              <a:rPr lang="nl-NL" sz="1600" b="0" i="0" dirty="0" err="1">
                <a:solidFill>
                  <a:srgbClr val="0D0D0D"/>
                </a:solidFill>
                <a:effectLst/>
                <a:latin typeface="Söhne"/>
              </a:rPr>
              <a:t>Whiskers</a:t>
            </a:r>
            <a:r>
              <a:rPr lang="nl-NL" sz="1600" b="0" i="0" dirty="0">
                <a:solidFill>
                  <a:srgbClr val="0D0D0D"/>
                </a:solidFill>
                <a:effectLst/>
                <a:latin typeface="Söhne"/>
              </a:rPr>
              <a:t> willen vastleggen: zijn naam, zijn leeftijd en het feit dat hij een huisdier is.</a:t>
            </a:r>
          </a:p>
          <a:p>
            <a:pPr algn="l"/>
            <a:endParaRPr lang="nl-NL" sz="1600" b="0" i="0" dirty="0">
              <a:solidFill>
                <a:srgbClr val="0D0D0D"/>
              </a:solidFill>
              <a:effectLst/>
              <a:latin typeface="Söhne"/>
            </a:endParaRPr>
          </a:p>
          <a:p>
            <a:pPr algn="l"/>
            <a:r>
              <a:rPr lang="nl-NL" sz="1600" b="0" i="0" dirty="0">
                <a:solidFill>
                  <a:srgbClr val="0D0D0D"/>
                </a:solidFill>
                <a:effectLst/>
                <a:latin typeface="Söhne"/>
              </a:rPr>
              <a:t>Hier is hoe we dit kunnen doen in RDF:</a:t>
            </a:r>
          </a:p>
          <a:p>
            <a:pPr algn="l"/>
            <a:endParaRPr lang="nl-NL" sz="1600" b="0" i="0" dirty="0">
              <a:solidFill>
                <a:srgbClr val="0D0D0D"/>
              </a:solidFill>
              <a:effectLst/>
              <a:latin typeface="Söhne"/>
            </a:endParaRPr>
          </a:p>
          <a:p>
            <a:pPr algn="l">
              <a:buFont typeface="Arial" panose="020B0604020202020204" pitchFamily="34" charset="0"/>
              <a:buChar char="•"/>
            </a:pPr>
            <a:r>
              <a:rPr lang="nl-NL" sz="1600" b="0" i="0" dirty="0">
                <a:solidFill>
                  <a:srgbClr val="0D0D0D"/>
                </a:solidFill>
                <a:effectLst/>
                <a:latin typeface="Söhne"/>
              </a:rPr>
              <a:t>Het subject (onderwerp) is "</a:t>
            </a:r>
            <a:r>
              <a:rPr lang="nl-NL" sz="1600" b="0" i="0" dirty="0" err="1">
                <a:solidFill>
                  <a:srgbClr val="0D0D0D"/>
                </a:solidFill>
                <a:effectLst/>
                <a:latin typeface="Söhne"/>
              </a:rPr>
              <a:t>Whiskers</a:t>
            </a:r>
            <a:r>
              <a:rPr lang="nl-NL" sz="1600" b="0" i="0" dirty="0">
                <a:solidFill>
                  <a:srgbClr val="0D0D0D"/>
                </a:solidFill>
                <a:effectLst/>
                <a:latin typeface="Söhne"/>
              </a:rPr>
              <a:t>".</a:t>
            </a:r>
          </a:p>
          <a:p>
            <a:pPr algn="l">
              <a:buFont typeface="Arial" panose="020B0604020202020204" pitchFamily="34" charset="0"/>
              <a:buChar char="•"/>
            </a:pPr>
            <a:r>
              <a:rPr lang="nl-NL" sz="1600" b="0" i="0" dirty="0">
                <a:solidFill>
                  <a:srgbClr val="0D0D0D"/>
                </a:solidFill>
                <a:effectLst/>
                <a:latin typeface="Söhne"/>
              </a:rPr>
              <a:t>Het predicaat (eigenschap) is "leeftijd" en het object (waarde) is "5 jaar".</a:t>
            </a:r>
          </a:p>
          <a:p>
            <a:pPr algn="l">
              <a:buFont typeface="Arial" panose="020B0604020202020204" pitchFamily="34" charset="0"/>
              <a:buChar char="•"/>
            </a:pPr>
            <a:r>
              <a:rPr lang="nl-NL" sz="1600" b="0" i="0" dirty="0">
                <a:solidFill>
                  <a:srgbClr val="0D0D0D"/>
                </a:solidFill>
                <a:effectLst/>
                <a:latin typeface="Söhne"/>
              </a:rPr>
              <a:t>Het predicaat is "is een" en het object is "huisdier".</a:t>
            </a:r>
          </a:p>
          <a:p>
            <a:pPr algn="l">
              <a:buFont typeface="Arial" panose="020B0604020202020204" pitchFamily="34" charset="0"/>
              <a:buChar char="•"/>
            </a:pPr>
            <a:endParaRPr lang="nl-NL" sz="1600" b="0" i="0" dirty="0">
              <a:solidFill>
                <a:srgbClr val="0D0D0D"/>
              </a:solidFill>
              <a:effectLst/>
              <a:latin typeface="Söhne"/>
            </a:endParaRPr>
          </a:p>
          <a:p>
            <a:pPr algn="l"/>
            <a:r>
              <a:rPr lang="nl-NL" sz="1600" b="0" i="0" dirty="0">
                <a:solidFill>
                  <a:srgbClr val="0D0D0D"/>
                </a:solidFill>
                <a:effectLst/>
                <a:latin typeface="Söhne"/>
              </a:rPr>
              <a:t>Dit wordt vertaald naar RDF-</a:t>
            </a:r>
            <a:r>
              <a:rPr lang="nl-NL" sz="1600" b="0" i="0" dirty="0" err="1">
                <a:solidFill>
                  <a:srgbClr val="0D0D0D"/>
                </a:solidFill>
                <a:effectLst/>
                <a:latin typeface="Söhne"/>
              </a:rPr>
              <a:t>triples</a:t>
            </a:r>
            <a:r>
              <a:rPr lang="nl-NL" sz="1600" b="0" i="0" dirty="0">
                <a:solidFill>
                  <a:srgbClr val="0D0D0D"/>
                </a:solidFill>
                <a:effectLst/>
                <a:latin typeface="Söhne"/>
              </a:rPr>
              <a:t> als:</a:t>
            </a:r>
          </a:p>
          <a:p>
            <a:pPr algn="l"/>
            <a:endParaRPr lang="nl-NL" sz="1600" b="0" i="0" dirty="0">
              <a:solidFill>
                <a:srgbClr val="0D0D0D"/>
              </a:solidFill>
              <a:effectLst/>
              <a:latin typeface="Söhne"/>
            </a:endParaRPr>
          </a:p>
          <a:p>
            <a:pPr algn="l">
              <a:buFont typeface="+mj-lt"/>
              <a:buAutoNum type="arabicPeriod"/>
            </a:pPr>
            <a:r>
              <a:rPr lang="nl-NL" sz="1600" b="0" i="0" dirty="0">
                <a:solidFill>
                  <a:srgbClr val="0D0D0D"/>
                </a:solidFill>
                <a:effectLst/>
                <a:latin typeface="Söhne"/>
              </a:rPr>
              <a:t>Subject: </a:t>
            </a:r>
            <a:r>
              <a:rPr lang="nl-NL" sz="1600" b="0" i="0" dirty="0" err="1">
                <a:solidFill>
                  <a:srgbClr val="0D0D0D"/>
                </a:solidFill>
                <a:effectLst/>
                <a:latin typeface="Söhne"/>
              </a:rPr>
              <a:t>Whiskers</a:t>
            </a:r>
            <a:r>
              <a:rPr lang="nl-NL" sz="1600" b="0" i="0" dirty="0">
                <a:solidFill>
                  <a:srgbClr val="0D0D0D"/>
                </a:solidFill>
                <a:effectLst/>
                <a:latin typeface="Söhne"/>
              </a:rPr>
              <a:t>    </a:t>
            </a:r>
            <a:r>
              <a:rPr lang="nl-NL" sz="1600" b="0" i="0" dirty="0" err="1">
                <a:solidFill>
                  <a:srgbClr val="0D0D0D"/>
                </a:solidFill>
                <a:effectLst/>
                <a:latin typeface="Söhne"/>
              </a:rPr>
              <a:t>Predicate</a:t>
            </a:r>
            <a:r>
              <a:rPr lang="nl-NL" sz="1600" b="0" i="0" dirty="0">
                <a:solidFill>
                  <a:srgbClr val="0D0D0D"/>
                </a:solidFill>
                <a:effectLst/>
                <a:latin typeface="Söhne"/>
              </a:rPr>
              <a:t>: leeftijd    Object: 5 jaar</a:t>
            </a:r>
          </a:p>
          <a:p>
            <a:pPr algn="l">
              <a:buFont typeface="+mj-lt"/>
              <a:buAutoNum type="arabicPeriod"/>
            </a:pPr>
            <a:r>
              <a:rPr lang="nl-NL" sz="1600" b="0" i="0" dirty="0">
                <a:solidFill>
                  <a:srgbClr val="0D0D0D"/>
                </a:solidFill>
                <a:effectLst/>
                <a:latin typeface="Söhne"/>
              </a:rPr>
              <a:t>Subject: </a:t>
            </a:r>
            <a:r>
              <a:rPr lang="nl-NL" sz="1600" b="0" i="0" dirty="0" err="1">
                <a:solidFill>
                  <a:srgbClr val="0D0D0D"/>
                </a:solidFill>
                <a:effectLst/>
                <a:latin typeface="Söhne"/>
              </a:rPr>
              <a:t>Whiskers</a:t>
            </a:r>
            <a:r>
              <a:rPr lang="nl-NL" sz="1600" b="0" i="0" dirty="0">
                <a:solidFill>
                  <a:srgbClr val="0D0D0D"/>
                </a:solidFill>
                <a:effectLst/>
                <a:latin typeface="Söhne"/>
              </a:rPr>
              <a:t>    </a:t>
            </a:r>
            <a:r>
              <a:rPr lang="nl-NL" sz="1600" b="0" i="0" dirty="0" err="1">
                <a:solidFill>
                  <a:srgbClr val="0D0D0D"/>
                </a:solidFill>
                <a:effectLst/>
                <a:latin typeface="Söhne"/>
              </a:rPr>
              <a:t>Predicate</a:t>
            </a:r>
            <a:r>
              <a:rPr lang="nl-NL" sz="1600" b="0" i="0" dirty="0">
                <a:solidFill>
                  <a:srgbClr val="0D0D0D"/>
                </a:solidFill>
                <a:effectLst/>
                <a:latin typeface="Söhne"/>
              </a:rPr>
              <a:t>: is een      Object: huisdier</a:t>
            </a:r>
          </a:p>
          <a:p>
            <a:pPr algn="l"/>
            <a:endParaRPr lang="nl-NL" sz="1600" b="0" i="0" dirty="0">
              <a:solidFill>
                <a:srgbClr val="0D0D0D"/>
              </a:solidFill>
              <a:effectLst/>
              <a:latin typeface="Söhne"/>
            </a:endParaRPr>
          </a:p>
          <a:p>
            <a:pPr algn="l"/>
            <a:r>
              <a:rPr lang="nl-NL" sz="1600" b="0" i="0" dirty="0">
                <a:solidFill>
                  <a:srgbClr val="0D0D0D"/>
                </a:solidFill>
                <a:effectLst/>
                <a:latin typeface="Söhne"/>
              </a:rPr>
              <a:t>Dus in dit voorbeeld beschrijven we met RDF-</a:t>
            </a:r>
            <a:r>
              <a:rPr lang="nl-NL" sz="1600" b="0" i="0" dirty="0" err="1">
                <a:solidFill>
                  <a:srgbClr val="0D0D0D"/>
                </a:solidFill>
                <a:effectLst/>
                <a:latin typeface="Söhne"/>
              </a:rPr>
              <a:t>triples</a:t>
            </a:r>
            <a:r>
              <a:rPr lang="nl-NL" sz="1600" b="0" i="0" dirty="0">
                <a:solidFill>
                  <a:srgbClr val="0D0D0D"/>
                </a:solidFill>
                <a:effectLst/>
                <a:latin typeface="Söhne"/>
              </a:rPr>
              <a:t> dat "</a:t>
            </a:r>
            <a:r>
              <a:rPr lang="nl-NL" sz="1600" b="0" i="0" dirty="0" err="1">
                <a:solidFill>
                  <a:srgbClr val="0D0D0D"/>
                </a:solidFill>
                <a:effectLst/>
                <a:latin typeface="Söhne"/>
              </a:rPr>
              <a:t>Whiskers</a:t>
            </a:r>
            <a:r>
              <a:rPr lang="nl-NL" sz="1600" b="0" i="0" dirty="0">
                <a:solidFill>
                  <a:srgbClr val="0D0D0D"/>
                </a:solidFill>
                <a:effectLst/>
                <a:latin typeface="Söhne"/>
              </a:rPr>
              <a:t>" een leeftijd heeft van 5 jaar en dat hij een huisdier is.</a:t>
            </a:r>
          </a:p>
          <a:p>
            <a:pPr algn="l"/>
            <a:r>
              <a:rPr lang="nl-NL" sz="1600" b="0" i="0" dirty="0">
                <a:solidFill>
                  <a:srgbClr val="0D0D0D"/>
                </a:solidFill>
                <a:effectLst/>
                <a:latin typeface="Söhne"/>
              </a:rPr>
              <a:t>Dit is een vereenvoudigd voorbeeld, maar het laat zien hoe RDF wordt gebruikt om gestructureerde informatie over katten (of andere onderwerpen) vast te leggen en te delen op het web.</a:t>
            </a:r>
          </a:p>
          <a:p>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2000" i="1" dirty="0">
              <a:latin typeface="Calibri" panose="020F0502020204030204" pitchFamily="34" charset="0"/>
              <a:ea typeface="Calibri" panose="020F0502020204030204" pitchFamily="34" charset="0"/>
              <a:cs typeface="Times New Roman" panose="02020603050405020304" pitchFamily="18" charset="0"/>
            </a:endParaRPr>
          </a:p>
          <a:p>
            <a:endParaRPr lang="en-US" sz="2000" i="1"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
        <p:nvSpPr>
          <p:cNvPr id="3" name="Tijdelijke aanduiding voor inhoud 6">
            <a:extLst>
              <a:ext uri="{FF2B5EF4-FFF2-40B4-BE49-F238E27FC236}">
                <a16:creationId xmlns:a16="http://schemas.microsoft.com/office/drawing/2014/main" id="{6D4D8CBC-C048-05BA-A92A-FF4531F28891}"/>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pic>
        <p:nvPicPr>
          <p:cNvPr id="9" name="Afbeelding 8">
            <a:extLst>
              <a:ext uri="{FF2B5EF4-FFF2-40B4-BE49-F238E27FC236}">
                <a16:creationId xmlns:a16="http://schemas.microsoft.com/office/drawing/2014/main" id="{54390E85-FE64-2041-F494-597304B81989}"/>
              </a:ext>
            </a:extLst>
          </p:cNvPr>
          <p:cNvPicPr>
            <a:picLocks noChangeAspect="1"/>
          </p:cNvPicPr>
          <p:nvPr/>
        </p:nvPicPr>
        <p:blipFill>
          <a:blip r:embed="rId3"/>
          <a:stretch>
            <a:fillRect/>
          </a:stretch>
        </p:blipFill>
        <p:spPr>
          <a:xfrm>
            <a:off x="9361714" y="3091528"/>
            <a:ext cx="2143608" cy="1874606"/>
          </a:xfrm>
          <a:prstGeom prst="rect">
            <a:avLst/>
          </a:prstGeom>
        </p:spPr>
      </p:pic>
    </p:spTree>
    <p:extLst>
      <p:ext uri="{BB962C8B-B14F-4D97-AF65-F5344CB8AC3E}">
        <p14:creationId xmlns:p14="http://schemas.microsoft.com/office/powerpoint/2010/main" val="5709745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Wat is SPARQL ?</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914978" y="992094"/>
            <a:ext cx="10164539" cy="5355312"/>
          </a:xfrm>
          <a:prstGeom prst="rect">
            <a:avLst/>
          </a:prstGeom>
          <a:noFill/>
        </p:spPr>
        <p:txBody>
          <a:bodyPr wrap="square" rtlCol="0">
            <a:spAutoFit/>
          </a:bodyPr>
          <a:lstStyle/>
          <a:p>
            <a:pPr algn="l"/>
            <a:br>
              <a:rPr lang="nl-NL" sz="2000" b="0" i="0" dirty="0">
                <a:solidFill>
                  <a:srgbClr val="0D0D0D"/>
                </a:solidFill>
                <a:effectLst/>
                <a:latin typeface="Söhne"/>
              </a:rPr>
            </a:br>
            <a:br>
              <a:rPr lang="nl-NL" sz="1600" b="0" i="0" dirty="0">
                <a:solidFill>
                  <a:srgbClr val="0D0D0D"/>
                </a:solidFill>
                <a:effectLst/>
                <a:latin typeface="Söhne"/>
              </a:rPr>
            </a:br>
            <a:r>
              <a:rPr lang="nl-NL" sz="1600" b="0" i="0" dirty="0">
                <a:solidFill>
                  <a:srgbClr val="0D0D0D"/>
                </a:solidFill>
                <a:effectLst/>
                <a:latin typeface="Söhne"/>
              </a:rPr>
              <a:t>SPARQL staat voor SPARQL Protocol and RDF Query Language. Het is een krachtige querytaal die wordt gebruikt om gegevens op te halen en te manipuleren die zijn opgeslagen in het RDF-formaat (Resource </a:t>
            </a:r>
            <a:r>
              <a:rPr lang="nl-NL" sz="1600" b="0" i="0" dirty="0" err="1">
                <a:solidFill>
                  <a:srgbClr val="0D0D0D"/>
                </a:solidFill>
                <a:effectLst/>
                <a:latin typeface="Söhne"/>
              </a:rPr>
              <a:t>Description</a:t>
            </a:r>
            <a:r>
              <a:rPr lang="nl-NL" sz="1600" b="0" i="0" dirty="0">
                <a:solidFill>
                  <a:srgbClr val="0D0D0D"/>
                </a:solidFill>
                <a:effectLst/>
                <a:latin typeface="Söhne"/>
              </a:rPr>
              <a:t> Framework). RDF wordt veel gebruikt binnen Linked Data om informatie op een gestandaardiseerde manier te representeren en te delen op het web.</a:t>
            </a:r>
          </a:p>
          <a:p>
            <a:pPr algn="l"/>
            <a:endParaRPr lang="nl-NL" sz="1600" b="0" i="0" dirty="0">
              <a:solidFill>
                <a:srgbClr val="0D0D0D"/>
              </a:solidFill>
              <a:effectLst/>
              <a:latin typeface="Söhne"/>
            </a:endParaRPr>
          </a:p>
          <a:p>
            <a:pPr algn="l"/>
            <a:r>
              <a:rPr lang="nl-NL" sz="1600" b="0" i="0" dirty="0">
                <a:solidFill>
                  <a:srgbClr val="0D0D0D"/>
                </a:solidFill>
                <a:effectLst/>
                <a:latin typeface="Söhne"/>
              </a:rPr>
              <a:t>Met SPARQL kunnen gebruikers complexe vragen stellen over RDF-datasets. Deze vragen kunnen variëren van eenvoudige patroonovereenkomsten tot complexe zoekopdrachten met filters, aggregaties en geavanceerde logica. SPARQL is ontworpen om flexibel te zijn en te kunnen omgaan met de diverse manieren waarop RDF-gegevens gemodelleerd kunnen worden.</a:t>
            </a:r>
          </a:p>
          <a:p>
            <a:pPr algn="l"/>
            <a:endParaRPr lang="nl-NL" sz="1600" b="0" i="0" dirty="0">
              <a:solidFill>
                <a:srgbClr val="0D0D0D"/>
              </a:solidFill>
              <a:effectLst/>
              <a:latin typeface="Söhne"/>
            </a:endParaRPr>
          </a:p>
          <a:p>
            <a:pPr algn="l"/>
            <a:r>
              <a:rPr lang="nl-NL" sz="1600" b="0" i="0" dirty="0">
                <a:solidFill>
                  <a:srgbClr val="0D0D0D"/>
                </a:solidFill>
                <a:effectLst/>
                <a:latin typeface="Söhne"/>
              </a:rPr>
              <a:t>Het protocolgedeelte van SPARQL maakt het mogelijk om SPARQL-query's uit te voeren via HTTP en andere netwerkprotocollen, waardoor het een belangrijk onderdeel is van de Linked Data-infrastructuur voor het delen en bevragen van gegevens over het web.</a:t>
            </a:r>
          </a:p>
          <a:p>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2000" i="1" dirty="0">
              <a:latin typeface="Calibri" panose="020F0502020204030204" pitchFamily="34" charset="0"/>
              <a:ea typeface="Calibri" panose="020F0502020204030204" pitchFamily="34" charset="0"/>
              <a:cs typeface="Times New Roman" panose="02020603050405020304" pitchFamily="18" charset="0"/>
            </a:endParaRPr>
          </a:p>
          <a:p>
            <a:endParaRPr lang="en-US" sz="2000" i="1"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
        <p:nvSpPr>
          <p:cNvPr id="3" name="Tijdelijke aanduiding voor inhoud 6">
            <a:extLst>
              <a:ext uri="{FF2B5EF4-FFF2-40B4-BE49-F238E27FC236}">
                <a16:creationId xmlns:a16="http://schemas.microsoft.com/office/drawing/2014/main" id="{6D4D8CBC-C048-05BA-A92A-FF4531F28891}"/>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spTree>
    <p:extLst>
      <p:ext uri="{BB962C8B-B14F-4D97-AF65-F5344CB8AC3E}">
        <p14:creationId xmlns:p14="http://schemas.microsoft.com/office/powerpoint/2010/main" val="24185870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Wat is SPARQL ?</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914978" y="992094"/>
            <a:ext cx="10164539" cy="7448193"/>
          </a:xfrm>
          <a:prstGeom prst="rect">
            <a:avLst/>
          </a:prstGeom>
          <a:noFill/>
        </p:spPr>
        <p:txBody>
          <a:bodyPr wrap="square" rtlCol="0">
            <a:spAutoFit/>
          </a:bodyPr>
          <a:lstStyle/>
          <a:p>
            <a:pPr algn="l"/>
            <a:br>
              <a:rPr lang="nl-NL" sz="2000" b="0" i="0" dirty="0">
                <a:solidFill>
                  <a:srgbClr val="0D0D0D"/>
                </a:solidFill>
                <a:effectLst/>
                <a:latin typeface="Söhne"/>
              </a:rPr>
            </a:br>
            <a:r>
              <a:rPr lang="nl-NL" sz="1400" b="0" i="0" dirty="0">
                <a:solidFill>
                  <a:srgbClr val="0D0D0D"/>
                </a:solidFill>
                <a:effectLst/>
                <a:latin typeface="Söhne"/>
              </a:rPr>
              <a:t>Stel dat we een RDF-dataset hebben die informatie bevat over verschillende huisdieren, inclusief katten. Laten we aannemen dat de dataset </a:t>
            </a:r>
            <a:r>
              <a:rPr lang="nl-NL" sz="1400" b="0" i="0" dirty="0" err="1">
                <a:solidFill>
                  <a:srgbClr val="0D0D0D"/>
                </a:solidFill>
                <a:effectLst/>
                <a:latin typeface="Söhne"/>
              </a:rPr>
              <a:t>triples</a:t>
            </a:r>
            <a:r>
              <a:rPr lang="nl-NL" sz="1400" b="0" i="0" dirty="0">
                <a:solidFill>
                  <a:srgbClr val="0D0D0D"/>
                </a:solidFill>
                <a:effectLst/>
                <a:latin typeface="Söhne"/>
              </a:rPr>
              <a:t> bevat die de namen, leeftijden en types huisdier van verschillende dieren bevatten.</a:t>
            </a:r>
          </a:p>
          <a:p>
            <a:pPr algn="l"/>
            <a:r>
              <a:rPr lang="nl-NL" sz="1400" b="0" i="0" dirty="0">
                <a:solidFill>
                  <a:srgbClr val="0D0D0D"/>
                </a:solidFill>
                <a:effectLst/>
                <a:latin typeface="Söhne"/>
              </a:rPr>
              <a:t>Hier is een voorbeeld van zo'n RDF-triple:</a:t>
            </a:r>
          </a:p>
          <a:p>
            <a:pPr algn="l"/>
            <a:endParaRPr lang="nl-NL" sz="1600" b="0" i="0" dirty="0">
              <a:solidFill>
                <a:srgbClr val="FF0000"/>
              </a:solidFill>
              <a:effectLst/>
              <a:latin typeface="Söhne"/>
            </a:endParaRPr>
          </a:p>
          <a:p>
            <a:pPr algn="l"/>
            <a:r>
              <a:rPr lang="en-US" sz="1200" b="0" i="0" dirty="0">
                <a:solidFill>
                  <a:srgbClr val="FF0000"/>
                </a:solidFill>
                <a:effectLst/>
                <a:latin typeface="Söhne"/>
              </a:rPr>
              <a:t>&lt;http://example.org/whiskers&gt; &lt;http://example.org/hasName&gt; "Whiskers" .</a:t>
            </a:r>
          </a:p>
          <a:p>
            <a:pPr algn="l"/>
            <a:r>
              <a:rPr lang="en-US" sz="1200" b="0" i="0" dirty="0">
                <a:solidFill>
                  <a:srgbClr val="FF0000"/>
                </a:solidFill>
                <a:effectLst/>
                <a:latin typeface="Söhne"/>
              </a:rPr>
              <a:t>&lt;http://example.org/whiskers&gt; &lt;http://example.org/hasAge&gt; "5"^^&lt;http://www.w3.org/2001/XMLSchema#integer&gt; .</a:t>
            </a:r>
          </a:p>
          <a:p>
            <a:pPr algn="l"/>
            <a:r>
              <a:rPr lang="en-US" sz="1200" b="0" i="0" dirty="0">
                <a:solidFill>
                  <a:srgbClr val="FF0000"/>
                </a:solidFill>
                <a:effectLst/>
                <a:latin typeface="Söhne"/>
              </a:rPr>
              <a:t>&lt;http://example.org/whiskers&gt; &lt;http://example.org/isPetOfType&gt; "cat" .</a:t>
            </a:r>
          </a:p>
          <a:p>
            <a:pPr algn="l"/>
            <a:endParaRPr lang="en-US" sz="1600" dirty="0">
              <a:solidFill>
                <a:srgbClr val="0D0D0D"/>
              </a:solidFill>
              <a:latin typeface="Söhne"/>
            </a:endParaRPr>
          </a:p>
          <a:p>
            <a:pPr algn="l"/>
            <a:r>
              <a:rPr lang="nl-NL" sz="1400" b="0" i="0" dirty="0">
                <a:solidFill>
                  <a:srgbClr val="0D0D0D"/>
                </a:solidFill>
                <a:effectLst/>
                <a:latin typeface="Söhne"/>
              </a:rPr>
              <a:t>Nu, laten we een SPARQL-query schrijven om de namen van alle katten in de dataset op te halen:</a:t>
            </a:r>
            <a:endParaRPr lang="en-US" sz="1400" b="0" i="0" dirty="0">
              <a:solidFill>
                <a:srgbClr val="0D0D0D"/>
              </a:solidFill>
              <a:effectLst/>
              <a:latin typeface="Söhne"/>
            </a:endParaRPr>
          </a:p>
          <a:p>
            <a:pPr algn="l"/>
            <a:r>
              <a:rPr lang="en-US" sz="1600" dirty="0">
                <a:solidFill>
                  <a:srgbClr val="0D0D0D"/>
                </a:solidFill>
                <a:latin typeface="Söhne"/>
              </a:rPr>
              <a:t>----------------------------------------------------------------------------------------------</a:t>
            </a:r>
          </a:p>
          <a:p>
            <a:pPr algn="l"/>
            <a:r>
              <a:rPr lang="en-US" sz="1400" b="0" i="0" dirty="0">
                <a:solidFill>
                  <a:srgbClr val="FF0000"/>
                </a:solidFill>
                <a:effectLst/>
                <a:latin typeface="Söhne"/>
              </a:rPr>
              <a:t>PREFIX ex: &lt;http://example.org/&gt;</a:t>
            </a:r>
          </a:p>
          <a:p>
            <a:pPr algn="l"/>
            <a:endParaRPr lang="en-US" sz="1400" b="0" i="0" dirty="0">
              <a:solidFill>
                <a:srgbClr val="FF0000"/>
              </a:solidFill>
              <a:effectLst/>
              <a:latin typeface="Söhne"/>
            </a:endParaRPr>
          </a:p>
          <a:p>
            <a:pPr algn="l"/>
            <a:r>
              <a:rPr lang="en-US" sz="1400" b="0" i="0" dirty="0">
                <a:solidFill>
                  <a:srgbClr val="FF0000"/>
                </a:solidFill>
                <a:effectLst/>
                <a:latin typeface="Söhne"/>
              </a:rPr>
              <a:t>SELECT ?name</a:t>
            </a:r>
          </a:p>
          <a:p>
            <a:pPr algn="l"/>
            <a:r>
              <a:rPr lang="en-US" sz="1400" b="0" i="0" dirty="0">
                <a:solidFill>
                  <a:srgbClr val="FF0000"/>
                </a:solidFill>
                <a:effectLst/>
                <a:latin typeface="Söhne"/>
              </a:rPr>
              <a:t>WHERE {</a:t>
            </a:r>
          </a:p>
          <a:p>
            <a:pPr algn="l"/>
            <a:r>
              <a:rPr lang="en-US" sz="1400" b="0" i="0" dirty="0">
                <a:solidFill>
                  <a:srgbClr val="FF0000"/>
                </a:solidFill>
                <a:effectLst/>
                <a:latin typeface="Söhne"/>
              </a:rPr>
              <a:t>  ?cat </a:t>
            </a:r>
            <a:r>
              <a:rPr lang="en-US" sz="1400" b="0" i="0" dirty="0" err="1">
                <a:solidFill>
                  <a:srgbClr val="FF0000"/>
                </a:solidFill>
                <a:effectLst/>
                <a:latin typeface="Söhne"/>
              </a:rPr>
              <a:t>ex:hasName</a:t>
            </a:r>
            <a:r>
              <a:rPr lang="en-US" sz="1400" b="0" i="0" dirty="0">
                <a:solidFill>
                  <a:srgbClr val="FF0000"/>
                </a:solidFill>
                <a:effectLst/>
                <a:latin typeface="Söhne"/>
              </a:rPr>
              <a:t> ?name .</a:t>
            </a:r>
          </a:p>
          <a:p>
            <a:pPr algn="l"/>
            <a:r>
              <a:rPr lang="en-US" sz="1400" b="0" i="0" dirty="0">
                <a:solidFill>
                  <a:srgbClr val="FF0000"/>
                </a:solidFill>
                <a:effectLst/>
                <a:latin typeface="Söhne"/>
              </a:rPr>
              <a:t>  ?cat </a:t>
            </a:r>
            <a:r>
              <a:rPr lang="en-US" sz="1400" b="0" i="0" dirty="0" err="1">
                <a:solidFill>
                  <a:srgbClr val="FF0000"/>
                </a:solidFill>
                <a:effectLst/>
                <a:latin typeface="Söhne"/>
              </a:rPr>
              <a:t>ex:isPetOfType</a:t>
            </a:r>
            <a:r>
              <a:rPr lang="en-US" sz="1400" b="0" i="0" dirty="0">
                <a:solidFill>
                  <a:srgbClr val="FF0000"/>
                </a:solidFill>
                <a:effectLst/>
                <a:latin typeface="Söhne"/>
              </a:rPr>
              <a:t> "cat" .</a:t>
            </a:r>
          </a:p>
          <a:p>
            <a:pPr algn="l"/>
            <a:r>
              <a:rPr lang="en-US" sz="1400" b="0" i="0" dirty="0">
                <a:solidFill>
                  <a:srgbClr val="FF0000"/>
                </a:solidFill>
                <a:effectLst/>
                <a:latin typeface="Söhne"/>
              </a:rPr>
              <a:t>}</a:t>
            </a:r>
          </a:p>
          <a:p>
            <a:pPr algn="l"/>
            <a:r>
              <a:rPr lang="en-US" sz="1600" dirty="0">
                <a:solidFill>
                  <a:srgbClr val="0D0D0D"/>
                </a:solidFill>
                <a:latin typeface="Söhne"/>
              </a:rPr>
              <a:t>----------------------------------------------------------------------</a:t>
            </a:r>
          </a:p>
          <a:p>
            <a:pPr algn="l"/>
            <a:r>
              <a:rPr lang="nl-NL" sz="1400" b="0" i="0" dirty="0">
                <a:solidFill>
                  <a:srgbClr val="0D0D0D"/>
                </a:solidFill>
                <a:effectLst/>
                <a:latin typeface="Söhne"/>
              </a:rPr>
              <a:t>Deze SPARQL-query zoekt naar </a:t>
            </a:r>
            <a:r>
              <a:rPr lang="nl-NL" sz="1400" b="0" i="0" dirty="0" err="1">
                <a:solidFill>
                  <a:srgbClr val="0D0D0D"/>
                </a:solidFill>
                <a:effectLst/>
                <a:latin typeface="Söhne"/>
              </a:rPr>
              <a:t>triples</a:t>
            </a:r>
            <a:r>
              <a:rPr lang="nl-NL" sz="1400" b="0" i="0" dirty="0">
                <a:solidFill>
                  <a:srgbClr val="0D0D0D"/>
                </a:solidFill>
                <a:effectLst/>
                <a:latin typeface="Söhne"/>
              </a:rPr>
              <a:t> waarbij het object een "</a:t>
            </a:r>
            <a:r>
              <a:rPr lang="nl-NL" sz="1400" b="0" i="0" dirty="0" err="1">
                <a:solidFill>
                  <a:srgbClr val="0D0D0D"/>
                </a:solidFill>
                <a:effectLst/>
                <a:latin typeface="Söhne"/>
              </a:rPr>
              <a:t>cat</a:t>
            </a:r>
            <a:r>
              <a:rPr lang="nl-NL" sz="1400" b="0" i="0" dirty="0">
                <a:solidFill>
                  <a:srgbClr val="0D0D0D"/>
                </a:solidFill>
                <a:effectLst/>
                <a:latin typeface="Söhne"/>
              </a:rPr>
              <a:t>" is en haalt vervolgens de naam van de katten op. De PREFIX-verklaring wordt gebruikt om een afkorting te maken voor het URI-voorvoegsel "</a:t>
            </a:r>
            <a:r>
              <a:rPr lang="nl-NL" sz="1400" b="0" i="0" u="none" strike="noStrike" dirty="0">
                <a:solidFill>
                  <a:srgbClr val="0D0D0D"/>
                </a:solidFill>
                <a:effectLst/>
                <a:latin typeface="Söhne"/>
                <a:hlinkClick r:id="rId3"/>
              </a:rPr>
              <a:t>http://example.org/</a:t>
            </a:r>
            <a:r>
              <a:rPr lang="nl-NL" sz="1400" b="0" i="0" dirty="0">
                <a:solidFill>
                  <a:srgbClr val="0D0D0D"/>
                </a:solidFill>
                <a:effectLst/>
                <a:latin typeface="Söhne"/>
              </a:rPr>
              <a:t>", wat het gemakkelijker maakt om de eigenschappen in de query te verwijzen.</a:t>
            </a:r>
          </a:p>
          <a:p>
            <a:pPr algn="l"/>
            <a:r>
              <a:rPr lang="nl-NL" sz="1400" b="0" i="0" dirty="0">
                <a:solidFill>
                  <a:srgbClr val="0D0D0D"/>
                </a:solidFill>
                <a:effectLst/>
                <a:latin typeface="Söhne"/>
              </a:rPr>
              <a:t>Als we deze query uitvoeren op de RDF-dataset, zullen we de namen van alle katten krijgen die in de dataset zijn opgenomen.</a:t>
            </a:r>
          </a:p>
          <a:p>
            <a:pPr algn="l"/>
            <a:endParaRPr lang="en-US" sz="1600" b="0" i="0" dirty="0">
              <a:solidFill>
                <a:srgbClr val="0D0D0D"/>
              </a:solidFill>
              <a:effectLst/>
              <a:latin typeface="Söhne"/>
            </a:endParaRPr>
          </a:p>
          <a:p>
            <a:pPr algn="l"/>
            <a:endParaRPr lang="en-US" sz="1600" b="0" i="0" dirty="0">
              <a:solidFill>
                <a:srgbClr val="0D0D0D"/>
              </a:solidFill>
              <a:effectLst/>
              <a:latin typeface="Söhne"/>
            </a:endParaRPr>
          </a:p>
          <a:p>
            <a:pPr algn="l"/>
            <a:endParaRPr lang="nl-NL" sz="1600" b="0" i="0" dirty="0">
              <a:solidFill>
                <a:srgbClr val="0D0D0D"/>
              </a:solidFill>
              <a:effectLst/>
              <a:latin typeface="Söhne"/>
            </a:endParaRPr>
          </a:p>
          <a:p>
            <a:pPr algn="l"/>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2000" i="1" dirty="0">
              <a:latin typeface="Calibri" panose="020F0502020204030204" pitchFamily="34" charset="0"/>
              <a:ea typeface="Calibri" panose="020F0502020204030204" pitchFamily="34" charset="0"/>
              <a:cs typeface="Times New Roman" panose="02020603050405020304" pitchFamily="18" charset="0"/>
            </a:endParaRPr>
          </a:p>
          <a:p>
            <a:endParaRPr lang="en-US" sz="2000" i="1"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
        <p:nvSpPr>
          <p:cNvPr id="3" name="Tijdelijke aanduiding voor inhoud 6">
            <a:extLst>
              <a:ext uri="{FF2B5EF4-FFF2-40B4-BE49-F238E27FC236}">
                <a16:creationId xmlns:a16="http://schemas.microsoft.com/office/drawing/2014/main" id="{6D4D8CBC-C048-05BA-A92A-FF4531F28891}"/>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pic>
        <p:nvPicPr>
          <p:cNvPr id="8" name="Afbeelding 7">
            <a:extLst>
              <a:ext uri="{FF2B5EF4-FFF2-40B4-BE49-F238E27FC236}">
                <a16:creationId xmlns:a16="http://schemas.microsoft.com/office/drawing/2014/main" id="{B0E8AECE-ECFB-ADA0-E2E8-F46B6C2DC738}"/>
              </a:ext>
            </a:extLst>
          </p:cNvPr>
          <p:cNvPicPr>
            <a:picLocks noChangeAspect="1"/>
          </p:cNvPicPr>
          <p:nvPr/>
        </p:nvPicPr>
        <p:blipFill>
          <a:blip r:embed="rId4"/>
          <a:stretch>
            <a:fillRect/>
          </a:stretch>
        </p:blipFill>
        <p:spPr>
          <a:xfrm>
            <a:off x="9498520" y="2596732"/>
            <a:ext cx="1580997" cy="2656360"/>
          </a:xfrm>
          <a:prstGeom prst="rect">
            <a:avLst/>
          </a:prstGeom>
        </p:spPr>
      </p:pic>
    </p:spTree>
    <p:extLst>
      <p:ext uri="{BB962C8B-B14F-4D97-AF65-F5344CB8AC3E}">
        <p14:creationId xmlns:p14="http://schemas.microsoft.com/office/powerpoint/2010/main" val="22160687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Wat is SHACL ?</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1013730" y="1086919"/>
            <a:ext cx="10164539" cy="4031873"/>
          </a:xfrm>
          <a:prstGeom prst="rect">
            <a:avLst/>
          </a:prstGeom>
          <a:noFill/>
        </p:spPr>
        <p:txBody>
          <a:bodyPr wrap="square" rtlCol="0">
            <a:spAutoFit/>
          </a:bodyPr>
          <a:lstStyle/>
          <a:p>
            <a:pPr algn="l"/>
            <a:br>
              <a:rPr lang="nl-NL" sz="1600" b="0" i="0" dirty="0">
                <a:solidFill>
                  <a:srgbClr val="0D0D0D"/>
                </a:solidFill>
                <a:effectLst/>
                <a:latin typeface="Söhne"/>
              </a:rPr>
            </a:br>
            <a:r>
              <a:rPr lang="nl-NL" sz="1600" b="0" i="0" dirty="0">
                <a:solidFill>
                  <a:srgbClr val="0D0D0D"/>
                </a:solidFill>
                <a:effectLst/>
                <a:latin typeface="Söhne"/>
              </a:rPr>
              <a:t>SHACL staat voor "</a:t>
            </a:r>
            <a:r>
              <a:rPr lang="nl-NL" sz="1600" b="0" i="0" dirty="0" err="1">
                <a:solidFill>
                  <a:srgbClr val="0D0D0D"/>
                </a:solidFill>
                <a:effectLst/>
                <a:latin typeface="Söhne"/>
              </a:rPr>
              <a:t>Shapes</a:t>
            </a:r>
            <a:r>
              <a:rPr lang="nl-NL" sz="1600" b="0" i="0" dirty="0">
                <a:solidFill>
                  <a:srgbClr val="0D0D0D"/>
                </a:solidFill>
                <a:effectLst/>
                <a:latin typeface="Söhne"/>
              </a:rPr>
              <a:t> </a:t>
            </a:r>
            <a:r>
              <a:rPr lang="nl-NL" sz="1600" b="0" i="0" dirty="0" err="1">
                <a:solidFill>
                  <a:srgbClr val="0D0D0D"/>
                </a:solidFill>
                <a:effectLst/>
                <a:latin typeface="Söhne"/>
              </a:rPr>
              <a:t>Constraint</a:t>
            </a:r>
            <a:r>
              <a:rPr lang="nl-NL" sz="1600" b="0" i="0" dirty="0">
                <a:solidFill>
                  <a:srgbClr val="0D0D0D"/>
                </a:solidFill>
                <a:effectLst/>
                <a:latin typeface="Söhne"/>
              </a:rPr>
              <a:t> Language" en is een W3C-standaard voor het valideren van RDF-gegevens tegen gestelde schema's, ook wel "</a:t>
            </a:r>
            <a:r>
              <a:rPr lang="nl-NL" sz="1600" b="0" i="0" dirty="0" err="1">
                <a:solidFill>
                  <a:srgbClr val="0D0D0D"/>
                </a:solidFill>
                <a:effectLst/>
                <a:latin typeface="Söhne"/>
              </a:rPr>
              <a:t>shapes</a:t>
            </a:r>
            <a:r>
              <a:rPr lang="nl-NL" sz="1600" b="0" i="0" dirty="0">
                <a:solidFill>
                  <a:srgbClr val="0D0D0D"/>
                </a:solidFill>
                <a:effectLst/>
                <a:latin typeface="Söhne"/>
              </a:rPr>
              <a:t>" genoemd.</a:t>
            </a:r>
          </a:p>
          <a:p>
            <a:pPr algn="l"/>
            <a:endParaRPr lang="nl-NL" sz="1600" b="0" i="0" dirty="0">
              <a:solidFill>
                <a:srgbClr val="0D0D0D"/>
              </a:solidFill>
              <a:effectLst/>
              <a:latin typeface="Söhne"/>
            </a:endParaRPr>
          </a:p>
          <a:p>
            <a:pPr algn="l"/>
            <a:r>
              <a:rPr lang="nl-NL" sz="1600" b="0" i="0" dirty="0">
                <a:solidFill>
                  <a:srgbClr val="0D0D0D"/>
                </a:solidFill>
                <a:effectLst/>
                <a:latin typeface="Söhne"/>
              </a:rPr>
              <a:t>Met SHACL kunnen ontwikkelaars gedetailleerde specificaties maken over hoe RDF-gegevens moeten worden gestructureerd en welke beperkingen er gelden voor de waarden van eigenschappen. Deze specificaties kunnen onder meer aangeven welke eigenschappen verplicht zijn, welke waarden deze eigenschappen kunnen aannemen, hoeveel herhalingen van een eigenschap zijn toegestaan, enzovoort.</a:t>
            </a:r>
          </a:p>
          <a:p>
            <a:pPr algn="l"/>
            <a:endParaRPr lang="nl-NL" sz="1600" b="0" i="0" dirty="0">
              <a:solidFill>
                <a:srgbClr val="0D0D0D"/>
              </a:solidFill>
              <a:effectLst/>
              <a:latin typeface="Söhne"/>
            </a:endParaRPr>
          </a:p>
          <a:p>
            <a:pPr algn="l"/>
            <a:r>
              <a:rPr lang="nl-NL" sz="1600" b="0" i="0" dirty="0">
                <a:solidFill>
                  <a:srgbClr val="0D0D0D"/>
                </a:solidFill>
                <a:effectLst/>
                <a:latin typeface="Söhne"/>
              </a:rPr>
              <a:t>SHACL-schema's worden zelf gemodelleerd als RDF-gegevens en kunnen worden gebruikt om de kwaliteit en consistentie van RDF-gegevens te verbeteren. Door gegevens te valideren tegen SHACL-</a:t>
            </a:r>
            <a:r>
              <a:rPr lang="nl-NL" sz="1600" b="0" i="0" dirty="0" err="1">
                <a:solidFill>
                  <a:srgbClr val="0D0D0D"/>
                </a:solidFill>
                <a:effectLst/>
                <a:latin typeface="Söhne"/>
              </a:rPr>
              <a:t>shapes</a:t>
            </a:r>
            <a:r>
              <a:rPr lang="nl-NL" sz="1600" b="0" i="0" dirty="0">
                <a:solidFill>
                  <a:srgbClr val="0D0D0D"/>
                </a:solidFill>
                <a:effectLst/>
                <a:latin typeface="Söhne"/>
              </a:rPr>
              <a:t>, kunnen ontwikkelaars ervoor zorgen dat de gepubliceerde gegevens voldoen aan de gewenste criteria en interoperabiliteit tussen verschillende gegevensbronnen mogelijk maken.</a:t>
            </a:r>
          </a:p>
          <a:p>
            <a:pPr algn="l"/>
            <a:endParaRPr lang="nl-NL" sz="1600" b="0" i="0" dirty="0">
              <a:solidFill>
                <a:srgbClr val="0D0D0D"/>
              </a:solidFill>
              <a:effectLst/>
              <a:latin typeface="Söhne"/>
            </a:endParaRPr>
          </a:p>
          <a:p>
            <a:pPr algn="l"/>
            <a:r>
              <a:rPr lang="nl-NL" sz="1600" b="0" i="0" dirty="0">
                <a:solidFill>
                  <a:srgbClr val="0D0D0D"/>
                </a:solidFill>
                <a:effectLst/>
                <a:latin typeface="Söhne"/>
              </a:rPr>
              <a:t>Kortom, SHACL is een belangrijk instrument binnen het ecosysteem van Linked Data, waarmee ontwikkelaars de kwaliteit en consistentie van RDF-gegevens kunnen waarborgen.</a:t>
            </a:r>
          </a:p>
        </p:txBody>
      </p:sp>
      <p:sp>
        <p:nvSpPr>
          <p:cNvPr id="3" name="Tijdelijke aanduiding voor inhoud 6">
            <a:extLst>
              <a:ext uri="{FF2B5EF4-FFF2-40B4-BE49-F238E27FC236}">
                <a16:creationId xmlns:a16="http://schemas.microsoft.com/office/drawing/2014/main" id="{6D4D8CBC-C048-05BA-A92A-FF4531F28891}"/>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spTree>
    <p:extLst>
      <p:ext uri="{BB962C8B-B14F-4D97-AF65-F5344CB8AC3E}">
        <p14:creationId xmlns:p14="http://schemas.microsoft.com/office/powerpoint/2010/main" val="11335502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AM 2019">
  <a:themeElements>
    <a:clrScheme name="BAM 2020">
      <a:dk1>
        <a:sysClr val="windowText" lastClr="000000"/>
      </a:dk1>
      <a:lt1>
        <a:sysClr val="window" lastClr="FFFFFF"/>
      </a:lt1>
      <a:dk2>
        <a:srgbClr val="E3EFDE"/>
      </a:dk2>
      <a:lt2>
        <a:srgbClr val="F4D1C0"/>
      </a:lt2>
      <a:accent1>
        <a:srgbClr val="0DB02A"/>
      </a:accent1>
      <a:accent2>
        <a:srgbClr val="EA5B0C"/>
      </a:accent2>
      <a:accent3>
        <a:srgbClr val="326E37"/>
      </a:accent3>
      <a:accent4>
        <a:srgbClr val="0DB02A"/>
      </a:accent4>
      <a:accent5>
        <a:srgbClr val="7F7F7F"/>
      </a:accent5>
      <a:accent6>
        <a:srgbClr val="5F5F5F"/>
      </a:accent6>
      <a:hlink>
        <a:srgbClr val="7F7F7F"/>
      </a:hlink>
      <a:folHlink>
        <a:srgbClr val="7F7F7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M_NL_16x9_2021_leeg.potx" id="{10426FB3-BF19-4DAB-B28B-0CED8F76C8D3}" vid="{B4DF9ECC-44C1-46DC-8283-CC68C0CC7EBA}"/>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ReadOnly xmlns="5c6a04a9-8c4d-4399-97dd-b411ea78cc7c">false</ReadOnly>
    <Owner xmlns="a426fc56-af65-4e8f-a9ff-3941d1d5d03e">
      <UserInfo>
        <DisplayName/>
        <AccountId xsi:nil="true"/>
        <AccountType/>
      </UserInfo>
    </Owner>
    <TaxCatchAll xmlns="46081320-9ae3-4ab4-afb3-a51c151eddcf" xsi:nil="true"/>
    <lcf76f155ced4ddcb4097134ff3c332f xmlns="a426fc56-af65-4e8f-a9ff-3941d1d5d03e">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SyncFile" ma:contentTypeID="0x010100A9A932717EDC2148A5AA2B6D3F826ECC000DEDDD42BAF97C4FBD3896E7F5A51C1E" ma:contentTypeVersion="16" ma:contentTypeDescription="" ma:contentTypeScope="" ma:versionID="15c7e3a2767992ce44b33dc212dee59e">
  <xsd:schema xmlns:xsd="http://www.w3.org/2001/XMLSchema" xmlns:xs="http://www.w3.org/2001/XMLSchema" xmlns:p="http://schemas.microsoft.com/office/2006/metadata/properties" xmlns:ns2="5c6a04a9-8c4d-4399-97dd-b411ea78cc7c" xmlns:ns3="a426fc56-af65-4e8f-a9ff-3941d1d5d03e" xmlns:ns4="46081320-9ae3-4ab4-afb3-a51c151eddcf" targetNamespace="http://schemas.microsoft.com/office/2006/metadata/properties" ma:root="true" ma:fieldsID="b248d2168ad4804eaf272badeae9ea3a" ns2:_="" ns3:_="" ns4:_="">
    <xsd:import namespace="5c6a04a9-8c4d-4399-97dd-b411ea78cc7c"/>
    <xsd:import namespace="a426fc56-af65-4e8f-a9ff-3941d1d5d03e"/>
    <xsd:import namespace="46081320-9ae3-4ab4-afb3-a51c151eddcf"/>
    <xsd:element name="properties">
      <xsd:complexType>
        <xsd:sequence>
          <xsd:element name="documentManagement">
            <xsd:complexType>
              <xsd:all>
                <xsd:element ref="ns2:ReadOnly" minOccurs="0"/>
                <xsd:element ref="ns3:MediaServiceDateTaken" minOccurs="0"/>
                <xsd:element ref="ns3:MediaServiceAutoTags" minOccurs="0"/>
                <xsd:element ref="ns3:MediaServiceOCR" minOccurs="0"/>
                <xsd:element ref="ns2:SharedWithUsers" minOccurs="0"/>
                <xsd:element ref="ns2:SharedWithDetails" minOccurs="0"/>
                <xsd:element ref="ns3:Owner" minOccurs="0"/>
                <xsd:element ref="ns3:MediaServiceAutoKeyPoints" minOccurs="0"/>
                <xsd:element ref="ns3:MediaServiceKeyPoints" minOccurs="0"/>
                <xsd:element ref="ns3:MediaServiceGenerationTime" minOccurs="0"/>
                <xsd:element ref="ns3:MediaServiceEventHashCode" minOccurs="0"/>
                <xsd:element ref="ns3:lcf76f155ced4ddcb4097134ff3c332f" minOccurs="0"/>
                <xsd:element ref="ns4:TaxCatchAll"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6a04a9-8c4d-4399-97dd-b411ea78cc7c" elementFormDefault="qualified">
    <xsd:import namespace="http://schemas.microsoft.com/office/2006/documentManagement/types"/>
    <xsd:import namespace="http://schemas.microsoft.com/office/infopath/2007/PartnerControls"/>
    <xsd:element name="ReadOnly" ma:index="8" nillable="true" ma:displayName="ReadOnly" ma:default="0" ma:internalName="ReadOnly">
      <xsd:simpleType>
        <xsd:restriction base="dms:Boolean"/>
      </xsd:simpleType>
    </xsd:element>
    <xsd:element name="SharedWithUsers" ma:index="12"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Gedeeld met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426fc56-af65-4e8f-a9ff-3941d1d5d03e" elementFormDefault="qualified">
    <xsd:import namespace="http://schemas.microsoft.com/office/2006/documentManagement/types"/>
    <xsd:import namespace="http://schemas.microsoft.com/office/infopath/2007/PartnerControls"/>
    <xsd:element name="MediaServiceDateTaken" ma:index="9" nillable="true" ma:displayName="MediaServiceDateTaken" ma:hidden="true" ma:internalName="MediaServiceDateTaken" ma:readOnly="true">
      <xsd:simpleType>
        <xsd:restriction base="dms:Text"/>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Owner" ma:index="14" nillable="true" ma:displayName="Owner" ma:format="Dropdown" ma:list="UserInfo" ma:SharePointGroup="0" ma:internalName="Own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lcf76f155ced4ddcb4097134ff3c332f" ma:index="20" nillable="true" ma:taxonomy="true" ma:internalName="lcf76f155ced4ddcb4097134ff3c332f" ma:taxonomyFieldName="MediaServiceImageTags" ma:displayName="Afbeeldingtags" ma:readOnly="false" ma:fieldId="{5cf76f15-5ced-4ddc-b409-7134ff3c332f}" ma:taxonomyMulti="true" ma:sspId="769557f3-ea9a-4272-9fa3-17d788de4743" ma:termSetId="09814cd3-568e-fe90-9814-8d621ff8fb84" ma:anchorId="fba54fb3-c3e1-fe81-a776-ca4b69148c4d" ma:open="true" ma:isKeyword="false">
      <xsd:complexType>
        <xsd:sequence>
          <xsd:element ref="pc:Terms" minOccurs="0" maxOccurs="1"/>
        </xsd:sequence>
      </xsd:complex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6081320-9ae3-4ab4-afb3-a51c151eddcf"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d8b3465d-ddfc-4bab-9a53-e40f23903e9d}" ma:internalName="TaxCatchAll" ma:showField="CatchAllData" ma:web="5c6a04a9-8c4d-4399-97dd-b411ea78cc7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FB18EE9-AA7F-42D2-A25D-958F91A46A94}">
  <ds:schemaRefs>
    <ds:schemaRef ds:uri="http://purl.org/dc/elements/1.1/"/>
    <ds:schemaRef ds:uri="http://schemas.microsoft.com/office/2006/metadata/properties"/>
    <ds:schemaRef ds:uri="a426fc56-af65-4e8f-a9ff-3941d1d5d03e"/>
    <ds:schemaRef ds:uri="http://purl.org/dc/terms/"/>
    <ds:schemaRef ds:uri="http://schemas.microsoft.com/office/infopath/2007/PartnerControls"/>
    <ds:schemaRef ds:uri="http://schemas.microsoft.com/office/2006/documentManagement/types"/>
    <ds:schemaRef ds:uri="46081320-9ae3-4ab4-afb3-a51c151eddcf"/>
    <ds:schemaRef ds:uri="http://schemas.openxmlformats.org/package/2006/metadata/core-properties"/>
    <ds:schemaRef ds:uri="5c6a04a9-8c4d-4399-97dd-b411ea78cc7c"/>
    <ds:schemaRef ds:uri="http://www.w3.org/XML/1998/namespace"/>
    <ds:schemaRef ds:uri="http://purl.org/dc/dcmitype/"/>
  </ds:schemaRefs>
</ds:datastoreItem>
</file>

<file path=customXml/itemProps2.xml><?xml version="1.0" encoding="utf-8"?>
<ds:datastoreItem xmlns:ds="http://schemas.openxmlformats.org/officeDocument/2006/customXml" ds:itemID="{0C279383-6E65-4028-B14D-62ED5E7037D7}">
  <ds:schemaRefs>
    <ds:schemaRef ds:uri="http://schemas.microsoft.com/sharepoint/v3/contenttype/forms"/>
  </ds:schemaRefs>
</ds:datastoreItem>
</file>

<file path=customXml/itemProps3.xml><?xml version="1.0" encoding="utf-8"?>
<ds:datastoreItem xmlns:ds="http://schemas.openxmlformats.org/officeDocument/2006/customXml" ds:itemID="{7BD8EDCB-222E-4037-968D-7DAF06DBE2D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6a04a9-8c4d-4399-97dd-b411ea78cc7c"/>
    <ds:schemaRef ds:uri="a426fc56-af65-4e8f-a9ff-3941d1d5d03e"/>
    <ds:schemaRef ds:uri="46081320-9ae3-4ab4-afb3-a51c151eddc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AM_NL_16x9_2021_leeg</Template>
  <TotalTime>0</TotalTime>
  <Words>2097</Words>
  <Application>Microsoft Office PowerPoint</Application>
  <PresentationFormat>Breedbeeld</PresentationFormat>
  <Paragraphs>166</Paragraphs>
  <Slides>11</Slides>
  <Notes>7</Notes>
  <HiddenSlides>0</HiddenSlides>
  <MMClips>0</MMClips>
  <ScaleCrop>false</ScaleCrop>
  <HeadingPairs>
    <vt:vector size="8" baseType="variant">
      <vt:variant>
        <vt:lpstr>Gebruikte lettertypen</vt:lpstr>
      </vt:variant>
      <vt:variant>
        <vt:i4>4</vt:i4>
      </vt:variant>
      <vt:variant>
        <vt:lpstr>Thema</vt:lpstr>
      </vt:variant>
      <vt:variant>
        <vt:i4>1</vt:i4>
      </vt:variant>
      <vt:variant>
        <vt:lpstr>Ingesloten OLE-bronprogramma's</vt:lpstr>
      </vt:variant>
      <vt:variant>
        <vt:i4>1</vt:i4>
      </vt:variant>
      <vt:variant>
        <vt:lpstr>Diatitels</vt:lpstr>
      </vt:variant>
      <vt:variant>
        <vt:i4>11</vt:i4>
      </vt:variant>
    </vt:vector>
  </HeadingPairs>
  <TitlesOfParts>
    <vt:vector size="17" baseType="lpstr">
      <vt:lpstr>Arial</vt:lpstr>
      <vt:lpstr>Calibri</vt:lpstr>
      <vt:lpstr>Söhne</vt:lpstr>
      <vt:lpstr>Wingdings</vt:lpstr>
      <vt:lpstr>BAM 2019</vt:lpstr>
      <vt:lpstr>think-cell Slide</vt:lpstr>
      <vt:lpstr>PowerPoint-presentatie</vt:lpstr>
      <vt:lpstr>De achterliggende stappen</vt:lpstr>
      <vt:lpstr>Wat is Linked data?</vt:lpstr>
      <vt:lpstr>Wat is Linked data?</vt:lpstr>
      <vt:lpstr>Wat is RDF ?</vt:lpstr>
      <vt:lpstr>Wat is RDF ?</vt:lpstr>
      <vt:lpstr>Wat is SPARQL ?</vt:lpstr>
      <vt:lpstr>Wat is SPARQL ?</vt:lpstr>
      <vt:lpstr>Wat is SHACL ?</vt:lpstr>
      <vt:lpstr>Wat is SHACL ?</vt:lpstr>
      <vt:lpstr>Wat is Python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 oranje voettekst wijzigen</dc:title>
  <dc:creator>Temminghoff, Daan</dc:creator>
  <cp:keywords/>
  <cp:lastModifiedBy>Bosma, Janneke</cp:lastModifiedBy>
  <cp:revision>6</cp:revision>
  <dcterms:created xsi:type="dcterms:W3CDTF">2023-11-15T15:21:24Z</dcterms:created>
  <dcterms:modified xsi:type="dcterms:W3CDTF">2024-04-15T12:58: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9A932717EDC2148A5AA2B6D3F826ECC000DEDDD42BAF97C4FBD3896E7F5A51C1E</vt:lpwstr>
  </property>
  <property fmtid="{D5CDD505-2E9C-101B-9397-08002B2CF9AE}" pid="3" name="ValoIntranetDocumentType">
    <vt:lpwstr/>
  </property>
  <property fmtid="{D5CDD505-2E9C-101B-9397-08002B2CF9AE}" pid="4" name="TaxKeyword">
    <vt:lpwstr/>
  </property>
  <property fmtid="{D5CDD505-2E9C-101B-9397-08002B2CF9AE}" pid="5" name="MediaServiceImageTags">
    <vt:lpwstr/>
  </property>
  <property fmtid="{D5CDD505-2E9C-101B-9397-08002B2CF9AE}" pid="6" name="MSIP_Label_41a6e227-27d5-42bc-8eb9-760c0419ec2f_Enabled">
    <vt:lpwstr>true</vt:lpwstr>
  </property>
  <property fmtid="{D5CDD505-2E9C-101B-9397-08002B2CF9AE}" pid="7" name="MSIP_Label_41a6e227-27d5-42bc-8eb9-760c0419ec2f_SetDate">
    <vt:lpwstr>2024-04-15T10:28:54Z</vt:lpwstr>
  </property>
  <property fmtid="{D5CDD505-2E9C-101B-9397-08002B2CF9AE}" pid="8" name="MSIP_Label_41a6e227-27d5-42bc-8eb9-760c0419ec2f_Method">
    <vt:lpwstr>Standard</vt:lpwstr>
  </property>
  <property fmtid="{D5CDD505-2E9C-101B-9397-08002B2CF9AE}" pid="9" name="MSIP_Label_41a6e227-27d5-42bc-8eb9-760c0419ec2f_Name">
    <vt:lpwstr>Private</vt:lpwstr>
  </property>
  <property fmtid="{D5CDD505-2E9C-101B-9397-08002B2CF9AE}" pid="10" name="MSIP_Label_41a6e227-27d5-42bc-8eb9-760c0419ec2f_SiteId">
    <vt:lpwstr>bf5f4046-a1dc-4119-aa8a-bfb9fbf46271</vt:lpwstr>
  </property>
  <property fmtid="{D5CDD505-2E9C-101B-9397-08002B2CF9AE}" pid="11" name="MSIP_Label_41a6e227-27d5-42bc-8eb9-760c0419ec2f_ActionId">
    <vt:lpwstr>20e72df8-de28-4d17-a3db-93624e718050</vt:lpwstr>
  </property>
  <property fmtid="{D5CDD505-2E9C-101B-9397-08002B2CF9AE}" pid="12" name="MSIP_Label_41a6e227-27d5-42bc-8eb9-760c0419ec2f_ContentBits">
    <vt:lpwstr>0</vt:lpwstr>
  </property>
</Properties>
</file>